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34"/>
  </p:notesMasterIdLst>
  <p:sldIdLst>
    <p:sldId id="256" r:id="rId3"/>
    <p:sldId id="1750" r:id="rId4"/>
    <p:sldId id="258" r:id="rId5"/>
    <p:sldId id="1703" r:id="rId6"/>
    <p:sldId id="1753" r:id="rId7"/>
    <p:sldId id="1754" r:id="rId8"/>
    <p:sldId id="1755" r:id="rId9"/>
    <p:sldId id="1730" r:id="rId10"/>
    <p:sldId id="1731" r:id="rId11"/>
    <p:sldId id="1756" r:id="rId12"/>
    <p:sldId id="1757" r:id="rId13"/>
    <p:sldId id="1758" r:id="rId14"/>
    <p:sldId id="1751" r:id="rId15"/>
    <p:sldId id="1759" r:id="rId16"/>
    <p:sldId id="1760" r:id="rId17"/>
    <p:sldId id="1761" r:id="rId18"/>
    <p:sldId id="1763" r:id="rId19"/>
    <p:sldId id="1762" r:id="rId20"/>
    <p:sldId id="1764" r:id="rId21"/>
    <p:sldId id="1765" r:id="rId22"/>
    <p:sldId id="1766" r:id="rId23"/>
    <p:sldId id="1767" r:id="rId24"/>
    <p:sldId id="1768" r:id="rId25"/>
    <p:sldId id="1752" r:id="rId26"/>
    <p:sldId id="1769" r:id="rId27"/>
    <p:sldId id="1771" r:id="rId28"/>
    <p:sldId id="1770" r:id="rId29"/>
    <p:sldId id="1772" r:id="rId30"/>
    <p:sldId id="1728" r:id="rId31"/>
    <p:sldId id="1773" r:id="rId32"/>
    <p:sldId id="1723" r:id="rId33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刘佳伟" initials="刘佳伟" lastIdx="1" clrIdx="0">
    <p:extLst>
      <p:ext uri="{19B8F6BF-5375-455C-9EA6-DF929625EA0E}">
        <p15:presenceInfo xmlns:p15="http://schemas.microsoft.com/office/powerpoint/2012/main" userId="刘佳伟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A40"/>
    <a:srgbClr val="39BAE8"/>
    <a:srgbClr val="42BDE9"/>
    <a:srgbClr val="FF83A9"/>
    <a:srgbClr val="FFBFBE"/>
    <a:srgbClr val="92D9F2"/>
    <a:srgbClr val="E6E6E6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324" autoAdjust="0"/>
    <p:restoredTop sz="96201" autoAdjust="0"/>
  </p:normalViewPr>
  <p:slideViewPr>
    <p:cSldViewPr snapToGrid="0">
      <p:cViewPr>
        <p:scale>
          <a:sx n="97" d="100"/>
          <a:sy n="97" d="100"/>
        </p:scale>
        <p:origin x="192" y="1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gs" Target="tags/tag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431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5101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hyperlink" Target="http://www.officeplus.cn/Template/Home.shtml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微软黑科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E71CC84-193F-4D28-98D9-17F9952F968C}"/>
              </a:ext>
            </a:extLst>
          </p:cNvPr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23A9F197-1133-4CEE-860F-85366976D0AC}"/>
              </a:ext>
            </a:extLst>
          </p:cNvPr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A954438-2CEB-4119-883B-8B9196F98504}"/>
              </a:ext>
            </a:extLst>
          </p:cNvPr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D1A364-B227-4CFB-9287-6198C6C0443B}"/>
              </a:ext>
            </a:extLst>
          </p:cNvPr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EA6AD26-5781-4DAD-8C16-8C73B2C177AD}"/>
              </a:ext>
            </a:extLst>
          </p:cNvPr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2806FD0-33B9-40F1-B8F9-079524CA002C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59FFD7E-3944-43A3-A5DD-D8673483D0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6706F4-B20C-489C-ACB9-010EF43FEF70}"/>
              </a:ext>
            </a:extLst>
          </p:cNvPr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A11A6D6-1DBD-4A10-8942-D3DDC4E182E9}"/>
              </a:ext>
            </a:extLst>
          </p:cNvPr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74E825-3465-469E-BD06-097F250CA889}"/>
              </a:ext>
            </a:extLst>
          </p:cNvPr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EC4AC92-2800-4841-84A3-26E495F2D178}"/>
              </a:ext>
            </a:extLst>
          </p:cNvPr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识图 」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3D082CA-914B-42B8-A86E-16893B7234C9}"/>
              </a:ext>
            </a:extLst>
          </p:cNvPr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421E3BB-42AC-4DCD-9031-7215136A1844}"/>
              </a:ext>
            </a:extLst>
          </p:cNvPr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2"/>
            <a:extLst>
              <a:ext uri="{FF2B5EF4-FFF2-40B4-BE49-F238E27FC236}">
                <a16:creationId xmlns:a16="http://schemas.microsoft.com/office/drawing/2014/main" id="{46C855E7-2DCA-4970-A954-7CB7F69FAD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7F32EC9-ED26-45EE-9DC4-21C3241FF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716" y="1726788"/>
            <a:ext cx="2743200" cy="27432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6F84124-CE71-4190-B92C-B61E496F7B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82" y="1726788"/>
            <a:ext cx="2743200" cy="2743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9B45288-397E-405A-A715-DCD4FE40DC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20" y="1726788"/>
            <a:ext cx="27432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2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440603" y="759873"/>
            <a:ext cx="1713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1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7B43CCB-1998-4484-B269-9ACB654ACB71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调整模板颜色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F1532F4-AF97-400D-84E6-F00D2B3D35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A7E11C8-4335-45B0-A270-313A25ABC6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0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5615889-3ACE-4C91-970F-789D759EAC1E}"/>
              </a:ext>
            </a:extLst>
          </p:cNvPr>
          <p:cNvSpPr txBox="1"/>
          <p:nvPr userDrawn="1"/>
        </p:nvSpPr>
        <p:spPr>
          <a:xfrm>
            <a:off x="333477" y="6061002"/>
            <a:ext cx="3183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设计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变体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颜色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D19D40D-978A-4E04-8450-F6DC61B85399}"/>
              </a:ext>
            </a:extLst>
          </p:cNvPr>
          <p:cNvSpPr txBox="1"/>
          <p:nvPr userDrawn="1"/>
        </p:nvSpPr>
        <p:spPr>
          <a:xfrm>
            <a:off x="6360651" y="6061002"/>
            <a:ext cx="45624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喜欢的颜色搭配，模板一秒调整为你选颜色。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299860AF-0C43-4649-A586-85D19517B6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05928" y="2609333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6130A4D-8EC7-4AC1-B434-55DC6910286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7853" y="42571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54DB237-C74A-4BA8-A097-6A053DD3C747}"/>
              </a:ext>
            </a:extLst>
          </p:cNvPr>
          <p:cNvSpPr/>
          <p:nvPr userDrawn="1"/>
        </p:nvSpPr>
        <p:spPr>
          <a:xfrm>
            <a:off x="440603" y="759873"/>
            <a:ext cx="1750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2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172DAD1-F67C-4AB8-ACEF-004237CB3D3F}"/>
              </a:ext>
            </a:extLst>
          </p:cNvPr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00B558-79C0-475E-84A0-11700A36CA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FDE997-A67B-4FD0-B6AC-78D1EFE63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1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E1E676E-E869-48CE-BFB9-1C7FC981B376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时添加模板样式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768A42A-9DCD-4784-A3EF-F1D80ADC183F}"/>
              </a:ext>
            </a:extLst>
          </p:cNvPr>
          <p:cNvSpPr txBox="1"/>
          <p:nvPr userDrawn="1"/>
        </p:nvSpPr>
        <p:spPr>
          <a:xfrm>
            <a:off x="333477" y="6061002"/>
            <a:ext cx="3010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开始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新建幻灯片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8689A3-CABF-445F-829F-6396154A55D1}"/>
              </a:ext>
            </a:extLst>
          </p:cNvPr>
          <p:cNvSpPr txBox="1"/>
          <p:nvPr userDrawn="1"/>
        </p:nvSpPr>
        <p:spPr>
          <a:xfrm>
            <a:off x="6360651" y="6061002"/>
            <a:ext cx="5256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需要的页面，如封面页，目录页，副标题页，内容页等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7C9996A-24BA-4EE9-BA5A-589E184191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0878" y="24283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277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关注微软Office文档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F3BB9638-2D2F-48B1-A8CF-673B237DCC17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120C7C91-35F0-46E5-B511-2314CED2655F}"/>
              </a:ext>
            </a:extLst>
          </p:cNvPr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>
            <a:extLst>
              <a:ext uri="{FF2B5EF4-FFF2-40B4-BE49-F238E27FC236}">
                <a16:creationId xmlns:a16="http://schemas.microsoft.com/office/drawing/2014/main" id="{25779B21-3BC1-4E47-8650-6B0E785B5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43024A3-25F7-4B9A-9876-36F35421F6E6}"/>
              </a:ext>
            </a:extLst>
          </p:cNvPr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  <a:extLst>
              <a:ext uri="{FF2B5EF4-FFF2-40B4-BE49-F238E27FC236}">
                <a16:creationId xmlns:a16="http://schemas.microsoft.com/office/drawing/2014/main" id="{5524D02C-49CE-4D3D-8B89-07CEC3966F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2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95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google/googletest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zh.cppreference.com/w/cpp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en.cppreference.com/w/" TargetMode="Externa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WYqp7iY_Tc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product.hubspot.com/blog/git-and-github-tutorial-for-beginners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hyperlink" Target="https://github.com/ganler/SPTraining-VisionGroup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acebook/folly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://assets.hkoi.org/training2017/cppstl.pdf" TargetMode="Externa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howtogeek.com/117435/htg-explains-the-linux-directory-structure-explained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fGuIVzE_Os&amp;list=PLlrATfBNZ98dudnM48yfGUldqGD0S4FFb&amp;index=5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8794" y="3829854"/>
            <a:ext cx="5654410" cy="1257932"/>
          </a:xfrm>
        </p:spPr>
        <p:txBody>
          <a:bodyPr>
            <a:normAutofit/>
          </a:bodyPr>
          <a:lstStyle/>
          <a:p>
            <a:r>
              <a:rPr lang="en-US" altLang="zh-CN" b="1" dirty="0">
                <a:latin typeface="Constantia" panose="02030602050306030303" pitchFamily="18" charset="0"/>
              </a:rPr>
              <a:t>First Training</a:t>
            </a:r>
          </a:p>
          <a:p>
            <a:r>
              <a:rPr lang="en-US" altLang="zh-CN" sz="1600" dirty="0">
                <a:latin typeface="Constantia" panose="02030602050306030303" pitchFamily="18" charset="0"/>
              </a:rPr>
              <a:t>Linux Shell, </a:t>
            </a:r>
            <a:r>
              <a:rPr lang="en-US" altLang="zh-CN" sz="1600" dirty="0" err="1">
                <a:latin typeface="Constantia" panose="02030602050306030303" pitchFamily="18" charset="0"/>
              </a:rPr>
              <a:t>CMake</a:t>
            </a:r>
            <a:r>
              <a:rPr lang="en-US" altLang="zh-CN" sz="1600" dirty="0">
                <a:latin typeface="Constantia" panose="02030602050306030303" pitchFamily="18" charset="0"/>
              </a:rPr>
              <a:t>, STL and git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i="1" dirty="0" err="1"/>
              <a:t>SuperPower</a:t>
            </a:r>
            <a:br>
              <a:rPr lang="en-US" altLang="zh-CN" i="1" dirty="0"/>
            </a:br>
            <a:r>
              <a:rPr lang="en-US" altLang="zh-CN" i="1" dirty="0"/>
              <a:t> </a:t>
            </a:r>
            <a:r>
              <a:rPr lang="en-US" altLang="zh-CN" sz="7300" i="1" dirty="0">
                <a:solidFill>
                  <a:schemeClr val="accent3">
                    <a:lumMod val="75000"/>
                  </a:schemeClr>
                </a:solidFill>
              </a:rPr>
              <a:t>Vision Group</a:t>
            </a:r>
            <a:br>
              <a:rPr lang="en-US" altLang="zh-CN" i="1" dirty="0"/>
            </a:br>
            <a:r>
              <a:rPr lang="en-US" altLang="zh-CN" i="1" dirty="0"/>
              <a:t>Team Training</a:t>
            </a:r>
            <a:endParaRPr lang="zh-CN" altLang="en-US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8795" y="5367630"/>
            <a:ext cx="5654410" cy="296271"/>
          </a:xfrm>
        </p:spPr>
        <p:txBody>
          <a:bodyPr/>
          <a:lstStyle/>
          <a:p>
            <a:r>
              <a:rPr lang="en-US" altLang="zh-CN" b="1" dirty="0">
                <a:latin typeface="Consolas" panose="020B0609020204030204" pitchFamily="49" charset="0"/>
              </a:rPr>
              <a:t>Jiawei Liu =&gt; </a:t>
            </a:r>
            <a:r>
              <a:rPr lang="en-US" altLang="zh-CN" u="sng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jaway.liu@gmail.com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6599F528-7348-4F9C-9FC9-A69C4B565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94" y="5684800"/>
            <a:ext cx="5654410" cy="296271"/>
          </a:xfrm>
        </p:spPr>
        <p:txBody>
          <a:bodyPr/>
          <a:lstStyle/>
          <a:p>
            <a:r>
              <a:rPr lang="en-US" altLang="zh-CN" dirty="0"/>
              <a:t>2019/9/29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A572186-6B8E-4424-820D-91D88ECB5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 </a:t>
            </a:r>
            <a:r>
              <a:rPr lang="en-US" altLang="zh-CN" dirty="0" err="1"/>
              <a:t>CMak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81D7EA-D4EA-41BE-9951-CE046C8DB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739A6CD-FF01-41F3-9B2C-F18ED9FA53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1205" y="4145626"/>
            <a:ext cx="5426076" cy="254608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5F46C09-8B5C-42E4-A4A1-32B988784D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8786" y="1104313"/>
            <a:ext cx="8365568" cy="296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0163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31E0916-ABAD-4792-8F44-20D40098A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re featur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E0BC526-032C-4AA7-B8C6-2A64C24A1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D61A6E9-BD2D-4EE3-A488-105E735CD3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53391"/>
            <a:ext cx="6857031" cy="535131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4F7C54-05FE-46D2-9F3B-9B5F0FAEE0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8436" y="2279650"/>
            <a:ext cx="6362700" cy="22987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65666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104364-ED3C-4EFF-A903-C385FB2F2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 also use </a:t>
            </a:r>
            <a:r>
              <a:rPr lang="en-US" altLang="zh-CN" dirty="0" err="1"/>
              <a:t>CMake</a:t>
            </a:r>
            <a:r>
              <a:rPr lang="en-US" altLang="zh-CN" dirty="0"/>
              <a:t> to build LIBRARIE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B295531-96FC-4128-8004-CBEE05F84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CCC95D7-82F6-4E92-9D35-7C2AED4FC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5609903-EC10-41CC-87F7-E7F60367CEFE}"/>
              </a:ext>
            </a:extLst>
          </p:cNvPr>
          <p:cNvSpPr txBox="1"/>
          <p:nvPr/>
        </p:nvSpPr>
        <p:spPr>
          <a:xfrm>
            <a:off x="2184625" y="2431471"/>
            <a:ext cx="76190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/>
              <a:t>Let’s try to build GTEST:</a:t>
            </a:r>
          </a:p>
          <a:p>
            <a:endParaRPr lang="en-US" altLang="zh-CN" sz="3200" dirty="0"/>
          </a:p>
          <a:p>
            <a:r>
              <a:rPr lang="en-US" altLang="zh-CN" sz="3200" dirty="0">
                <a:hlinkClick r:id="rId2"/>
              </a:rPr>
              <a:t>https://github.com/google/googletest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48231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TL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CAD3BF3-B437-49B8-8FEF-BBCA13047E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6519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ED3A4C8-5636-4EFB-A5A4-D56C30B72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e what’s there and always ref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62B6C52-7372-4015-AD8A-387D9032C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F07CA86-9E69-434D-992D-A2B6500F1F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81478"/>
            <a:ext cx="11138305" cy="4766640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780749E1-9A8C-4540-87C9-21CC8099D7CD}"/>
              </a:ext>
            </a:extLst>
          </p:cNvPr>
          <p:cNvSpPr/>
          <p:nvPr/>
        </p:nvSpPr>
        <p:spPr>
          <a:xfrm>
            <a:off x="669924" y="6240463"/>
            <a:ext cx="36984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3"/>
              </a:rPr>
              <a:t>https://zh.cppreference.com/w/cp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008513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B480C9-599A-4AA6-A1E6-472778327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ig Idea When Programm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4030C87-795A-496C-9C5B-823D85C74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BC34D11-F94F-4E8D-8445-E35A34821B87}"/>
              </a:ext>
            </a:extLst>
          </p:cNvPr>
          <p:cNvSpPr txBox="1"/>
          <p:nvPr/>
        </p:nvSpPr>
        <p:spPr>
          <a:xfrm>
            <a:off x="1005840" y="2082338"/>
            <a:ext cx="5275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For green hands using Python =&gt; </a:t>
            </a:r>
            <a:r>
              <a:rPr lang="en-US" altLang="zh-CN" b="1" dirty="0">
                <a:solidFill>
                  <a:srgbClr val="00B050"/>
                </a:solidFill>
              </a:rPr>
              <a:t>Running is OK</a:t>
            </a:r>
            <a:endParaRPr lang="zh-CN" altLang="en-US" b="1" dirty="0">
              <a:solidFill>
                <a:srgbClr val="00B050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A8F3573-0EE3-435A-9096-917407E25BC1}"/>
              </a:ext>
            </a:extLst>
          </p:cNvPr>
          <p:cNvSpPr txBox="1"/>
          <p:nvPr/>
        </p:nvSpPr>
        <p:spPr>
          <a:xfrm>
            <a:off x="1005839" y="2866506"/>
            <a:ext cx="6865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For grandpa who has been using C++ for 40 years =&gt; </a:t>
            </a:r>
            <a:r>
              <a:rPr lang="en-US" altLang="zh-CN" b="1" dirty="0">
                <a:solidFill>
                  <a:srgbClr val="FF0000"/>
                </a:solidFill>
              </a:rPr>
              <a:t>I don’t C++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052DA4E-BBF0-419F-A839-A7BD2239C9AA}"/>
              </a:ext>
            </a:extLst>
          </p:cNvPr>
          <p:cNvSpPr txBox="1"/>
          <p:nvPr/>
        </p:nvSpPr>
        <p:spPr>
          <a:xfrm>
            <a:off x="1005839" y="3366654"/>
            <a:ext cx="106070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ompile error</a:t>
            </a:r>
          </a:p>
          <a:p>
            <a:r>
              <a:rPr lang="en-US" altLang="zh-CN" b="1" dirty="0"/>
              <a:t>Linking error</a:t>
            </a:r>
          </a:p>
          <a:p>
            <a:r>
              <a:rPr lang="en-US" altLang="zh-CN" b="1" dirty="0"/>
              <a:t>Runtime error</a:t>
            </a:r>
            <a:r>
              <a:rPr lang="en-US" altLang="zh-CN" dirty="0"/>
              <a:t>: stack overflow, segmentation fault or worse: </a:t>
            </a:r>
          </a:p>
          <a:p>
            <a:pPr algn="ctr"/>
            <a:r>
              <a:rPr lang="en-US" altLang="zh-CN" dirty="0">
                <a:solidFill>
                  <a:srgbClr val="FF0000"/>
                </a:solidFill>
              </a:rPr>
              <a:t>PROCESS FINISHED WITH EXIT CODE XXX(which is not 0)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83745AF-DF87-49CE-95DC-09ADA6EC3D6F}"/>
              </a:ext>
            </a:extLst>
          </p:cNvPr>
          <p:cNvSpPr txBox="1"/>
          <p:nvPr/>
        </p:nvSpPr>
        <p:spPr>
          <a:xfrm>
            <a:off x="1005839" y="4773198"/>
            <a:ext cx="5647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f you don’t care, one day it will pay you a </a:t>
            </a:r>
            <a:r>
              <a:rPr lang="en-US" altLang="zh-CN" b="1" dirty="0"/>
              <a:t>disaster</a:t>
            </a:r>
            <a:r>
              <a:rPr lang="en-US" altLang="zh-CN" dirty="0"/>
              <a:t> …</a:t>
            </a: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9628D0CE-156F-433C-A6D2-344762403EC4}"/>
              </a:ext>
            </a:extLst>
          </p:cNvPr>
          <p:cNvSpPr/>
          <p:nvPr/>
        </p:nvSpPr>
        <p:spPr>
          <a:xfrm>
            <a:off x="911630" y="1849691"/>
            <a:ext cx="10087494" cy="406492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en-US" altLang="zh-CN" dirty="0">
                <a:latin typeface="Century" panose="02040604050505020304" pitchFamily="18" charset="0"/>
              </a:rPr>
              <a:t>When u are not sure about </a:t>
            </a:r>
            <a:r>
              <a:rPr lang="en-US" altLang="zh-CN" dirty="0" err="1">
                <a:latin typeface="Century" panose="02040604050505020304" pitchFamily="18" charset="0"/>
              </a:rPr>
              <a:t>sth</a:t>
            </a:r>
            <a:r>
              <a:rPr lang="en-US" altLang="zh-CN" dirty="0">
                <a:latin typeface="Century" panose="02040604050505020304" pitchFamily="18" charset="0"/>
              </a:rPr>
              <a:t>., </a:t>
            </a:r>
            <a:r>
              <a:rPr lang="en-US" altLang="zh-CN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" panose="02040604050505020304" pitchFamily="18" charset="0"/>
              </a:rPr>
              <a:t>SEEK FOR REFERENCE</a:t>
            </a:r>
            <a:r>
              <a:rPr lang="en-US" altLang="zh-CN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" panose="02040604050505020304" pitchFamily="18" charset="0"/>
              </a:rPr>
              <a:t>.(</a:t>
            </a:r>
            <a:r>
              <a:rPr lang="en-US" altLang="zh-CN" dirty="0">
                <a:latin typeface="Century" panose="02040604050505020304" pitchFamily="18" charset="0"/>
              </a:rPr>
              <a:t>people, network …), just do not try to execute your code to identify your assumption.</a:t>
            </a:r>
          </a:p>
          <a:p>
            <a:pPr marL="285750" indent="-285750">
              <a:buFont typeface="Wingdings" panose="05000000000000000000" pitchFamily="2" charset="2"/>
              <a:buChar char="p"/>
            </a:pPr>
            <a:r>
              <a:rPr lang="en-US" altLang="zh-CN" dirty="0">
                <a:latin typeface="Century" panose="02040604050505020304" pitchFamily="18" charset="0"/>
              </a:rPr>
              <a:t>Make enough tests if possible(run debug mode with </a:t>
            </a:r>
            <a:r>
              <a:rPr lang="en-US" altLang="zh-CN" b="1" dirty="0">
                <a:latin typeface="Cascadia Code" panose="020B0509020204030204" pitchFamily="49" charset="0"/>
              </a:rPr>
              <a:t>assert</a:t>
            </a:r>
            <a:r>
              <a:rPr lang="en-US" altLang="zh-CN" dirty="0">
                <a:latin typeface="Century" panose="02040604050505020304" pitchFamily="18" charset="0"/>
              </a:rPr>
              <a:t>).</a:t>
            </a:r>
            <a:endParaRPr lang="zh-CN" altLang="en-US" dirty="0">
              <a:latin typeface="Century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940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A531A0D-25FA-438F-A6A3-146D50935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TL: Container &amp; Algorithm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36123EE-8DEF-4AB1-9F56-C03338695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DFA0D412-F044-4AFD-A836-4A55299A86EA}"/>
              </a:ext>
            </a:extLst>
          </p:cNvPr>
          <p:cNvSpPr/>
          <p:nvPr/>
        </p:nvSpPr>
        <p:spPr>
          <a:xfrm>
            <a:off x="635924" y="1487978"/>
            <a:ext cx="2082338" cy="6816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Consolas" panose="020B0609020204030204" pitchFamily="49" charset="0"/>
              </a:rPr>
              <a:t>std::vector&lt;T&gt;</a:t>
            </a:r>
            <a:endParaRPr lang="zh-CN" altLang="en-US" dirty="0">
              <a:latin typeface="Consolas" panose="020B0609020204030204" pitchFamily="49" charset="0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053C7B0A-32EB-479F-985B-B54B42B0DAD0}"/>
              </a:ext>
            </a:extLst>
          </p:cNvPr>
          <p:cNvSpPr/>
          <p:nvPr/>
        </p:nvSpPr>
        <p:spPr>
          <a:xfrm>
            <a:off x="635924" y="3990110"/>
            <a:ext cx="2082337" cy="6816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Consolas" panose="020B0609020204030204" pitchFamily="49" charset="0"/>
              </a:rPr>
              <a:t>std::deque&lt;T&gt;</a:t>
            </a:r>
            <a:endParaRPr lang="zh-CN" altLang="en-US" dirty="0">
              <a:latin typeface="Consolas" panose="020B0609020204030204" pitchFamily="49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F0CFC5D-9AE4-434A-BB1E-51AE859BF5A5}"/>
              </a:ext>
            </a:extLst>
          </p:cNvPr>
          <p:cNvSpPr/>
          <p:nvPr/>
        </p:nvSpPr>
        <p:spPr>
          <a:xfrm>
            <a:off x="3653444" y="2560320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AE16908-2E8B-4938-AE6C-DE4B6C9A5C2C}"/>
              </a:ext>
            </a:extLst>
          </p:cNvPr>
          <p:cNvSpPr/>
          <p:nvPr/>
        </p:nvSpPr>
        <p:spPr>
          <a:xfrm>
            <a:off x="4235335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4DDAA5B-23B0-4ECD-9E84-4CE9E61C96E9}"/>
              </a:ext>
            </a:extLst>
          </p:cNvPr>
          <p:cNvSpPr/>
          <p:nvPr/>
        </p:nvSpPr>
        <p:spPr>
          <a:xfrm>
            <a:off x="4819302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9F0D854-88B1-47D4-8D94-488E62F0D5C0}"/>
              </a:ext>
            </a:extLst>
          </p:cNvPr>
          <p:cNvSpPr/>
          <p:nvPr/>
        </p:nvSpPr>
        <p:spPr>
          <a:xfrm>
            <a:off x="5399117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304B7FF-4252-44F2-BF9B-EE2EE2B265D8}"/>
              </a:ext>
            </a:extLst>
          </p:cNvPr>
          <p:cNvSpPr/>
          <p:nvPr/>
        </p:nvSpPr>
        <p:spPr>
          <a:xfrm>
            <a:off x="5981008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42EF63E-489C-4A61-A8BF-0C67052B1AC2}"/>
              </a:ext>
            </a:extLst>
          </p:cNvPr>
          <p:cNvSpPr/>
          <p:nvPr/>
        </p:nvSpPr>
        <p:spPr>
          <a:xfrm>
            <a:off x="6562899" y="256031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7D16223-197A-4856-962D-B1E45A3A5E51}"/>
              </a:ext>
            </a:extLst>
          </p:cNvPr>
          <p:cNvSpPr/>
          <p:nvPr/>
        </p:nvSpPr>
        <p:spPr>
          <a:xfrm>
            <a:off x="7146866" y="256031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840E9368-2ED2-49EB-9DAB-DB20E40B9265}"/>
              </a:ext>
            </a:extLst>
          </p:cNvPr>
          <p:cNvSpPr/>
          <p:nvPr/>
        </p:nvSpPr>
        <p:spPr>
          <a:xfrm>
            <a:off x="7726681" y="256031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AE40593-A603-4E3F-B31A-6A0DC8E521DB}"/>
              </a:ext>
            </a:extLst>
          </p:cNvPr>
          <p:cNvSpPr/>
          <p:nvPr/>
        </p:nvSpPr>
        <p:spPr>
          <a:xfrm>
            <a:off x="831274" y="596022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C89F605-F2D1-4D75-B7AD-55E07D7646E4}"/>
              </a:ext>
            </a:extLst>
          </p:cNvPr>
          <p:cNvSpPr/>
          <p:nvPr/>
        </p:nvSpPr>
        <p:spPr>
          <a:xfrm>
            <a:off x="1791394" y="553073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926384A1-1889-480C-BFBC-65DCBB2FC039}"/>
              </a:ext>
            </a:extLst>
          </p:cNvPr>
          <p:cNvSpPr/>
          <p:nvPr/>
        </p:nvSpPr>
        <p:spPr>
          <a:xfrm>
            <a:off x="2375361" y="553073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8B5AA79-0EED-4651-A6B8-0414F12450DD}"/>
              </a:ext>
            </a:extLst>
          </p:cNvPr>
          <p:cNvSpPr/>
          <p:nvPr/>
        </p:nvSpPr>
        <p:spPr>
          <a:xfrm>
            <a:off x="2955176" y="553073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9A07E39B-C06C-438F-853E-98159EDA6BBF}"/>
              </a:ext>
            </a:extLst>
          </p:cNvPr>
          <p:cNvSpPr/>
          <p:nvPr/>
        </p:nvSpPr>
        <p:spPr>
          <a:xfrm>
            <a:off x="5864631" y="557229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52AD8B6-D6FE-4400-91A6-A5C75F7723E8}"/>
              </a:ext>
            </a:extLst>
          </p:cNvPr>
          <p:cNvSpPr/>
          <p:nvPr/>
        </p:nvSpPr>
        <p:spPr>
          <a:xfrm>
            <a:off x="6446522" y="557229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387F0DE-FCA6-481D-837C-4129EE90964B}"/>
              </a:ext>
            </a:extLst>
          </p:cNvPr>
          <p:cNvSpPr/>
          <p:nvPr/>
        </p:nvSpPr>
        <p:spPr>
          <a:xfrm>
            <a:off x="7030489" y="557229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6C61CF5-A3B5-447D-98FA-BF1AB471E6BE}"/>
              </a:ext>
            </a:extLst>
          </p:cNvPr>
          <p:cNvSpPr/>
          <p:nvPr/>
        </p:nvSpPr>
        <p:spPr>
          <a:xfrm>
            <a:off x="7610304" y="557229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F63B4B08-FB11-43C8-BB7A-411F612D9259}"/>
              </a:ext>
            </a:extLst>
          </p:cNvPr>
          <p:cNvSpPr/>
          <p:nvPr/>
        </p:nvSpPr>
        <p:spPr>
          <a:xfrm>
            <a:off x="8192195" y="44583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AB456D2A-4E15-44AE-9913-0FB7ED4D22E7}"/>
              </a:ext>
            </a:extLst>
          </p:cNvPr>
          <p:cNvSpPr/>
          <p:nvPr/>
        </p:nvSpPr>
        <p:spPr>
          <a:xfrm>
            <a:off x="8774086" y="4458391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4E8161AB-AD02-4E24-BDD0-7BE390D59306}"/>
              </a:ext>
            </a:extLst>
          </p:cNvPr>
          <p:cNvSpPr/>
          <p:nvPr/>
        </p:nvSpPr>
        <p:spPr>
          <a:xfrm>
            <a:off x="9358053" y="4458391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1A7925E5-6CA0-4434-992B-FCB2E59F2093}"/>
              </a:ext>
            </a:extLst>
          </p:cNvPr>
          <p:cNvSpPr/>
          <p:nvPr/>
        </p:nvSpPr>
        <p:spPr>
          <a:xfrm>
            <a:off x="3537067" y="449164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A38FBC8-D64C-4063-BA22-B254BCA351D7}"/>
              </a:ext>
            </a:extLst>
          </p:cNvPr>
          <p:cNvSpPr/>
          <p:nvPr/>
        </p:nvSpPr>
        <p:spPr>
          <a:xfrm>
            <a:off x="4118958" y="449164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92CC57BE-E8D5-451E-8EFB-445CE168586D}"/>
              </a:ext>
            </a:extLst>
          </p:cNvPr>
          <p:cNvSpPr/>
          <p:nvPr/>
        </p:nvSpPr>
        <p:spPr>
          <a:xfrm>
            <a:off x="4702925" y="449164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2862CD2D-14C1-49AF-9FF7-98CF6A838F6A}"/>
              </a:ext>
            </a:extLst>
          </p:cNvPr>
          <p:cNvSpPr/>
          <p:nvPr/>
        </p:nvSpPr>
        <p:spPr>
          <a:xfrm>
            <a:off x="5282740" y="449164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cxnSp>
        <p:nvCxnSpPr>
          <p:cNvPr id="32" name="连接符: 曲线 31">
            <a:extLst>
              <a:ext uri="{FF2B5EF4-FFF2-40B4-BE49-F238E27FC236}">
                <a16:creationId xmlns:a16="http://schemas.microsoft.com/office/drawing/2014/main" id="{D12B8F9E-B72A-4EAE-B184-750EDAAA2F69}"/>
              </a:ext>
            </a:extLst>
          </p:cNvPr>
          <p:cNvCxnSpPr>
            <a:stCxn id="18" idx="3"/>
            <a:endCxn id="27" idx="1"/>
          </p:cNvCxnSpPr>
          <p:nvPr/>
        </p:nvCxnSpPr>
        <p:spPr>
          <a:xfrm flipV="1">
            <a:off x="3537067" y="4757651"/>
            <a:ext cx="12700" cy="1039091"/>
          </a:xfrm>
          <a:prstGeom prst="curvedConnector5">
            <a:avLst>
              <a:gd name="adj1" fmla="val -1800000"/>
              <a:gd name="adj2" fmla="val 50000"/>
              <a:gd name="adj3" fmla="val 1900000"/>
            </a:avLst>
          </a:prstGeom>
          <a:ln>
            <a:solidFill>
              <a:srgbClr val="92D05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3" name="连接符: 曲线 32">
            <a:extLst>
              <a:ext uri="{FF2B5EF4-FFF2-40B4-BE49-F238E27FC236}">
                <a16:creationId xmlns:a16="http://schemas.microsoft.com/office/drawing/2014/main" id="{60C71301-D159-4563-B982-52C8F8418254}"/>
              </a:ext>
            </a:extLst>
          </p:cNvPr>
          <p:cNvCxnSpPr>
            <a:cxnSpLocks/>
            <a:stCxn id="30" idx="3"/>
            <a:endCxn id="19" idx="1"/>
          </p:cNvCxnSpPr>
          <p:nvPr/>
        </p:nvCxnSpPr>
        <p:spPr>
          <a:xfrm>
            <a:off x="5864631" y="4757650"/>
            <a:ext cx="12700" cy="1080656"/>
          </a:xfrm>
          <a:prstGeom prst="curvedConnector5">
            <a:avLst>
              <a:gd name="adj1" fmla="val -1800000"/>
              <a:gd name="adj2" fmla="val 50000"/>
              <a:gd name="adj3" fmla="val 1900000"/>
            </a:avLst>
          </a:prstGeom>
          <a:ln>
            <a:solidFill>
              <a:srgbClr val="92D05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6" name="连接符: 曲线 35">
            <a:extLst>
              <a:ext uri="{FF2B5EF4-FFF2-40B4-BE49-F238E27FC236}">
                <a16:creationId xmlns:a16="http://schemas.microsoft.com/office/drawing/2014/main" id="{EB9243A2-7C9E-4948-B93E-7DFC5467FDA9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 flipV="1">
            <a:off x="8192195" y="4724400"/>
            <a:ext cx="12700" cy="1113905"/>
          </a:xfrm>
          <a:prstGeom prst="curvedConnector5">
            <a:avLst>
              <a:gd name="adj1" fmla="val -1800000"/>
              <a:gd name="adj2" fmla="val 50000"/>
              <a:gd name="adj3" fmla="val 1900000"/>
            </a:avLst>
          </a:prstGeom>
          <a:ln>
            <a:solidFill>
              <a:srgbClr val="92D05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箭头: 左 39">
            <a:extLst>
              <a:ext uri="{FF2B5EF4-FFF2-40B4-BE49-F238E27FC236}">
                <a16:creationId xmlns:a16="http://schemas.microsoft.com/office/drawing/2014/main" id="{7C98EF7B-2CAA-4853-8BD7-A85A711A5D3D}"/>
              </a:ext>
            </a:extLst>
          </p:cNvPr>
          <p:cNvSpPr/>
          <p:nvPr/>
        </p:nvSpPr>
        <p:spPr>
          <a:xfrm rot="8000688">
            <a:off x="1246909" y="5764876"/>
            <a:ext cx="490451" cy="195351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B4F9B4ED-A019-4DAA-95AE-3D5957A83E8D}"/>
              </a:ext>
            </a:extLst>
          </p:cNvPr>
          <p:cNvSpPr/>
          <p:nvPr/>
        </p:nvSpPr>
        <p:spPr>
          <a:xfrm>
            <a:off x="10224657" y="4990406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3" name="箭头: 左 42">
            <a:extLst>
              <a:ext uri="{FF2B5EF4-FFF2-40B4-BE49-F238E27FC236}">
                <a16:creationId xmlns:a16="http://schemas.microsoft.com/office/drawing/2014/main" id="{FD280D79-F1EF-41DC-86DC-237FD43E1195}"/>
              </a:ext>
            </a:extLst>
          </p:cNvPr>
          <p:cNvSpPr/>
          <p:nvPr/>
        </p:nvSpPr>
        <p:spPr>
          <a:xfrm rot="2063137">
            <a:off x="9837076" y="4845823"/>
            <a:ext cx="490451" cy="195351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C1F4A5B4-B155-438D-AF0F-0891C781DABE}"/>
              </a:ext>
            </a:extLst>
          </p:cNvPr>
          <p:cNvSpPr/>
          <p:nvPr/>
        </p:nvSpPr>
        <p:spPr>
          <a:xfrm>
            <a:off x="9472354" y="2520221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5" name="箭头: 左 44">
            <a:extLst>
              <a:ext uri="{FF2B5EF4-FFF2-40B4-BE49-F238E27FC236}">
                <a16:creationId xmlns:a16="http://schemas.microsoft.com/office/drawing/2014/main" id="{016D0163-5B7D-4901-8FEA-407E99C82111}"/>
              </a:ext>
            </a:extLst>
          </p:cNvPr>
          <p:cNvSpPr/>
          <p:nvPr/>
        </p:nvSpPr>
        <p:spPr>
          <a:xfrm>
            <a:off x="8694075" y="2716526"/>
            <a:ext cx="490451" cy="195351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816B02C9-6908-40FA-9E0A-550F5E9FD936}"/>
              </a:ext>
            </a:extLst>
          </p:cNvPr>
          <p:cNvCxnSpPr/>
          <p:nvPr/>
        </p:nvCxnSpPr>
        <p:spPr>
          <a:xfrm>
            <a:off x="145473" y="3499658"/>
            <a:ext cx="11687694" cy="0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5D200F58-25DE-4125-A449-F22E6DFD9CEA}"/>
              </a:ext>
            </a:extLst>
          </p:cNvPr>
          <p:cNvSpPr txBox="1"/>
          <p:nvPr/>
        </p:nvSpPr>
        <p:spPr>
          <a:xfrm>
            <a:off x="8307534" y="2052494"/>
            <a:ext cx="1396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solidFill>
                  <a:srgbClr val="7030A0"/>
                </a:solidFill>
                <a:latin typeface="Cascadia Code" panose="020B0509020204030204" pitchFamily="49" charset="0"/>
              </a:rPr>
              <a:t>push_back</a:t>
            </a:r>
            <a:endParaRPr lang="zh-CN" altLang="en-US" b="1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693F6153-65F9-4D50-817F-B8FE9BB23F71}"/>
              </a:ext>
            </a:extLst>
          </p:cNvPr>
          <p:cNvSpPr txBox="1"/>
          <p:nvPr/>
        </p:nvSpPr>
        <p:spPr>
          <a:xfrm>
            <a:off x="999609" y="5131324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solidFill>
                  <a:srgbClr val="7030A0"/>
                </a:solidFill>
                <a:latin typeface="Cascadia Code" panose="020B0509020204030204" pitchFamily="49" charset="0"/>
              </a:rPr>
              <a:t>push_front</a:t>
            </a:r>
            <a:endParaRPr lang="zh-CN" altLang="en-US" b="1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2BDE03A2-A024-49E5-A475-3785DD2312AE}"/>
              </a:ext>
            </a:extLst>
          </p:cNvPr>
          <p:cNvSpPr txBox="1"/>
          <p:nvPr/>
        </p:nvSpPr>
        <p:spPr>
          <a:xfrm>
            <a:off x="9704070" y="4077387"/>
            <a:ext cx="1396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solidFill>
                  <a:srgbClr val="7030A0"/>
                </a:solidFill>
                <a:latin typeface="Cascadia Code" panose="020B0509020204030204" pitchFamily="49" charset="0"/>
              </a:rPr>
              <a:t>push_back</a:t>
            </a:r>
            <a:endParaRPr lang="zh-CN" altLang="en-US" b="1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999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A7B651-FBAB-49BA-B992-AC35CA514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Try to reserv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E4A90CC-A407-4800-A908-14E582BC24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1072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5F23FBF-43DF-4F3A-AB4A-655A4925E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367" y="2257535"/>
            <a:ext cx="4100542" cy="2709882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E5666A1C-2EAA-4FC8-87F2-583D886DBDC3}"/>
              </a:ext>
            </a:extLst>
          </p:cNvPr>
          <p:cNvSpPr/>
          <p:nvPr/>
        </p:nvSpPr>
        <p:spPr>
          <a:xfrm>
            <a:off x="7473143" y="179554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23C8F3E-78C7-4BDC-9C15-49FB525EE94E}"/>
              </a:ext>
            </a:extLst>
          </p:cNvPr>
          <p:cNvSpPr/>
          <p:nvPr/>
        </p:nvSpPr>
        <p:spPr>
          <a:xfrm>
            <a:off x="8055034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82AE630-FEC9-46F6-98D0-3254EA87886B}"/>
              </a:ext>
            </a:extLst>
          </p:cNvPr>
          <p:cNvSpPr/>
          <p:nvPr/>
        </p:nvSpPr>
        <p:spPr>
          <a:xfrm>
            <a:off x="8639001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9989D73-A7F9-43F5-93B7-7B2F2D8C6106}"/>
              </a:ext>
            </a:extLst>
          </p:cNvPr>
          <p:cNvSpPr/>
          <p:nvPr/>
        </p:nvSpPr>
        <p:spPr>
          <a:xfrm>
            <a:off x="9218816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4F5EADD-3BFB-4553-93E0-C68FE043472B}"/>
              </a:ext>
            </a:extLst>
          </p:cNvPr>
          <p:cNvSpPr/>
          <p:nvPr/>
        </p:nvSpPr>
        <p:spPr>
          <a:xfrm>
            <a:off x="9800707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2CDAA042-9D42-428F-8C99-B23400B6271C}"/>
              </a:ext>
            </a:extLst>
          </p:cNvPr>
          <p:cNvSpPr/>
          <p:nvPr/>
        </p:nvSpPr>
        <p:spPr>
          <a:xfrm>
            <a:off x="7486306" y="2509245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09AE1B6-DFDB-41C1-A446-09B508881FD0}"/>
              </a:ext>
            </a:extLst>
          </p:cNvPr>
          <p:cNvSpPr/>
          <p:nvPr/>
        </p:nvSpPr>
        <p:spPr>
          <a:xfrm>
            <a:off x="8068197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DA2A182-738D-44BC-8A9B-EBB765EE98C4}"/>
              </a:ext>
            </a:extLst>
          </p:cNvPr>
          <p:cNvSpPr/>
          <p:nvPr/>
        </p:nvSpPr>
        <p:spPr>
          <a:xfrm>
            <a:off x="8652164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51B7973-28FC-419E-A739-C8E8534AAA0D}"/>
              </a:ext>
            </a:extLst>
          </p:cNvPr>
          <p:cNvSpPr/>
          <p:nvPr/>
        </p:nvSpPr>
        <p:spPr>
          <a:xfrm>
            <a:off x="9231979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442C261C-67E6-44CB-A916-CB577DF38499}"/>
              </a:ext>
            </a:extLst>
          </p:cNvPr>
          <p:cNvSpPr/>
          <p:nvPr/>
        </p:nvSpPr>
        <p:spPr>
          <a:xfrm>
            <a:off x="9813870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CC5E4BC-4724-43D5-8AFD-5620A341E676}"/>
              </a:ext>
            </a:extLst>
          </p:cNvPr>
          <p:cNvSpPr txBox="1"/>
          <p:nvPr/>
        </p:nvSpPr>
        <p:spPr>
          <a:xfrm>
            <a:off x="5544590" y="185789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value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CA4C6DE-750F-4949-B3C7-E2B9C27E5D80}"/>
              </a:ext>
            </a:extLst>
          </p:cNvPr>
          <p:cNvSpPr txBox="1"/>
          <p:nvPr/>
        </p:nvSpPr>
        <p:spPr>
          <a:xfrm>
            <a:off x="5583876" y="2590585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emory</a:t>
            </a:r>
            <a:endParaRPr lang="zh-CN" altLang="en-US" dirty="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79A0BE2-19C2-4B9A-AF9E-EC25CCF9707D}"/>
              </a:ext>
            </a:extLst>
          </p:cNvPr>
          <p:cNvSpPr/>
          <p:nvPr/>
        </p:nvSpPr>
        <p:spPr>
          <a:xfrm>
            <a:off x="5436525" y="1471352"/>
            <a:ext cx="5307676" cy="1895302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04B39C6B-9EE8-40CD-848C-024A1D635A68}"/>
              </a:ext>
            </a:extLst>
          </p:cNvPr>
          <p:cNvSpPr/>
          <p:nvPr/>
        </p:nvSpPr>
        <p:spPr>
          <a:xfrm>
            <a:off x="5819124" y="4404546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6911C4A-96F3-4B3A-A11A-3D2073BC083D}"/>
              </a:ext>
            </a:extLst>
          </p:cNvPr>
          <p:cNvSpPr/>
          <p:nvPr/>
        </p:nvSpPr>
        <p:spPr>
          <a:xfrm>
            <a:off x="6401015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E195E342-0510-4C76-81E0-EF92E9A1886C}"/>
              </a:ext>
            </a:extLst>
          </p:cNvPr>
          <p:cNvSpPr/>
          <p:nvPr/>
        </p:nvSpPr>
        <p:spPr>
          <a:xfrm>
            <a:off x="6984982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87F5D5A-7DA4-4179-A923-5358F1576435}"/>
              </a:ext>
            </a:extLst>
          </p:cNvPr>
          <p:cNvSpPr/>
          <p:nvPr/>
        </p:nvSpPr>
        <p:spPr>
          <a:xfrm>
            <a:off x="7564797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9A10DAD-F40C-4091-A27B-4F467240FB6D}"/>
              </a:ext>
            </a:extLst>
          </p:cNvPr>
          <p:cNvSpPr/>
          <p:nvPr/>
        </p:nvSpPr>
        <p:spPr>
          <a:xfrm>
            <a:off x="8146688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1026168-4D43-4985-9572-1EAFF57F356F}"/>
              </a:ext>
            </a:extLst>
          </p:cNvPr>
          <p:cNvSpPr/>
          <p:nvPr/>
        </p:nvSpPr>
        <p:spPr>
          <a:xfrm>
            <a:off x="5832287" y="5118242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CF7183E-89D8-4A4B-B2F2-847E9E2FCD8F}"/>
              </a:ext>
            </a:extLst>
          </p:cNvPr>
          <p:cNvSpPr/>
          <p:nvPr/>
        </p:nvSpPr>
        <p:spPr>
          <a:xfrm>
            <a:off x="6414178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51B99219-1441-4411-B1DE-99C90DD08763}"/>
              </a:ext>
            </a:extLst>
          </p:cNvPr>
          <p:cNvSpPr/>
          <p:nvPr/>
        </p:nvSpPr>
        <p:spPr>
          <a:xfrm>
            <a:off x="6998145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C0430DD4-A468-40D9-A882-F2F3578958E3}"/>
              </a:ext>
            </a:extLst>
          </p:cNvPr>
          <p:cNvSpPr/>
          <p:nvPr/>
        </p:nvSpPr>
        <p:spPr>
          <a:xfrm>
            <a:off x="7577960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7AECF32-F326-4049-A49E-4354CA258F18}"/>
              </a:ext>
            </a:extLst>
          </p:cNvPr>
          <p:cNvSpPr/>
          <p:nvPr/>
        </p:nvSpPr>
        <p:spPr>
          <a:xfrm>
            <a:off x="8159851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7C2D3412-8261-4B20-999F-5414B78BC0FA}"/>
              </a:ext>
            </a:extLst>
          </p:cNvPr>
          <p:cNvSpPr txBox="1"/>
          <p:nvPr/>
        </p:nvSpPr>
        <p:spPr>
          <a:xfrm>
            <a:off x="4614259" y="4465692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value</a:t>
            </a:r>
            <a:endParaRPr lang="zh-CN" altLang="en-US" dirty="0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ACA99EC8-AA23-4644-9B90-80F11D3D3EC1}"/>
              </a:ext>
            </a:extLst>
          </p:cNvPr>
          <p:cNvSpPr txBox="1"/>
          <p:nvPr/>
        </p:nvSpPr>
        <p:spPr>
          <a:xfrm>
            <a:off x="4653545" y="5198383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emory</a:t>
            </a:r>
            <a:endParaRPr lang="zh-CN" altLang="en-US" dirty="0"/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E4C9F127-6465-4423-A0BB-78580F402502}"/>
              </a:ext>
            </a:extLst>
          </p:cNvPr>
          <p:cNvSpPr/>
          <p:nvPr/>
        </p:nvSpPr>
        <p:spPr>
          <a:xfrm>
            <a:off x="4506193" y="4079150"/>
            <a:ext cx="7647013" cy="1895302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444F3AD6-59E0-41D7-BD69-7A741CEFDE55}"/>
              </a:ext>
            </a:extLst>
          </p:cNvPr>
          <p:cNvSpPr/>
          <p:nvPr/>
        </p:nvSpPr>
        <p:spPr>
          <a:xfrm>
            <a:off x="8740575" y="5118242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C4D9AB49-D3C7-4D27-951C-DC2A4992A018}"/>
              </a:ext>
            </a:extLst>
          </p:cNvPr>
          <p:cNvSpPr/>
          <p:nvPr/>
        </p:nvSpPr>
        <p:spPr>
          <a:xfrm>
            <a:off x="9322466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FD2782F1-A371-4775-8E70-0B03C59AE412}"/>
              </a:ext>
            </a:extLst>
          </p:cNvPr>
          <p:cNvSpPr/>
          <p:nvPr/>
        </p:nvSpPr>
        <p:spPr>
          <a:xfrm>
            <a:off x="9906433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6C1BDF4D-D2AE-498D-97D4-D56AF5282409}"/>
              </a:ext>
            </a:extLst>
          </p:cNvPr>
          <p:cNvSpPr/>
          <p:nvPr/>
        </p:nvSpPr>
        <p:spPr>
          <a:xfrm>
            <a:off x="10486248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FE745158-3507-4490-AA9A-90778D5495AE}"/>
              </a:ext>
            </a:extLst>
          </p:cNvPr>
          <p:cNvSpPr/>
          <p:nvPr/>
        </p:nvSpPr>
        <p:spPr>
          <a:xfrm>
            <a:off x="11068139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0201B2DE-7C43-49DC-8585-3BEC735C7ED8}"/>
              </a:ext>
            </a:extLst>
          </p:cNvPr>
          <p:cNvCxnSpPr/>
          <p:nvPr/>
        </p:nvCxnSpPr>
        <p:spPr>
          <a:xfrm>
            <a:off x="2419004" y="4227022"/>
            <a:ext cx="2797232" cy="891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2C5C59FF-AE03-4D03-9C1C-C6E8EE972F6A}"/>
              </a:ext>
            </a:extLst>
          </p:cNvPr>
          <p:cNvCxnSpPr/>
          <p:nvPr/>
        </p:nvCxnSpPr>
        <p:spPr>
          <a:xfrm flipV="1">
            <a:off x="3798916" y="2373284"/>
            <a:ext cx="2033371" cy="13799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09892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24CED0-D682-47A1-AF89-0800F9DBB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is </a:t>
            </a:r>
            <a:r>
              <a:rPr lang="en-US" altLang="zh-CN" dirty="0" err="1"/>
              <a:t>push_back</a:t>
            </a:r>
            <a:r>
              <a:rPr lang="en-US" altLang="zh-CN" dirty="0"/>
              <a:t> doing?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27CBEDA-0D7A-42DF-A299-AE05C19D9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578C74AB-CF6C-461E-8D6E-9E100B58BB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67" y="1799705"/>
            <a:ext cx="7459317" cy="4120718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FD556B51-AC34-4CC7-8AF4-639DF8715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7468" y="-1"/>
            <a:ext cx="2561129" cy="68580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91E55636-83D0-43B6-A90C-1BFD5C95B1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9032" y="0"/>
            <a:ext cx="1778149" cy="6858000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C5D8BB85-588C-413A-BA35-97F24F628E2E}"/>
              </a:ext>
            </a:extLst>
          </p:cNvPr>
          <p:cNvSpPr txBox="1"/>
          <p:nvPr/>
        </p:nvSpPr>
        <p:spPr>
          <a:xfrm>
            <a:off x="8383385" y="3002956"/>
            <a:ext cx="1970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i="1" dirty="0">
                <a:solidFill>
                  <a:srgbClr val="39BAE8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GCC =&gt; 2x</a:t>
            </a:r>
            <a:endParaRPr lang="zh-CN" altLang="en-US" b="1" i="1" dirty="0">
              <a:solidFill>
                <a:srgbClr val="39BAE8"/>
              </a:solidFill>
              <a:effectLst>
                <a:glow rad="1016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005E28A1-44FC-4183-9890-7231ADDE1B58}"/>
              </a:ext>
            </a:extLst>
          </p:cNvPr>
          <p:cNvSpPr txBox="1"/>
          <p:nvPr/>
        </p:nvSpPr>
        <p:spPr>
          <a:xfrm>
            <a:off x="10535429" y="3002956"/>
            <a:ext cx="1970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i="1" dirty="0">
                <a:solidFill>
                  <a:srgbClr val="39BAE8"/>
                </a:solidFill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MSVC =&gt; 1.5x</a:t>
            </a:r>
            <a:endParaRPr lang="zh-CN" altLang="en-US" b="1" i="1" dirty="0">
              <a:solidFill>
                <a:srgbClr val="39BAE8"/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921233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7FB5AE-886D-433C-92BE-5C8389E0C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B03F2B-D334-4F45-9F11-C9736FFBA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9309617-FE30-4E08-8B00-EF61AA7AF0E7}"/>
              </a:ext>
            </a:extLst>
          </p:cNvPr>
          <p:cNvSpPr txBox="1"/>
          <p:nvPr/>
        </p:nvSpPr>
        <p:spPr>
          <a:xfrm>
            <a:off x="1238596" y="2161309"/>
            <a:ext cx="95762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Use STL containers, they are well implemented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If you only need `</a:t>
            </a:r>
            <a:r>
              <a:rPr lang="en-US" altLang="zh-CN" sz="2000" b="1" dirty="0" err="1"/>
              <a:t>push_back</a:t>
            </a:r>
            <a:r>
              <a:rPr lang="en-US" altLang="zh-CN" sz="2000" dirty="0"/>
              <a:t>` =&gt; std::vector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If you need `</a:t>
            </a:r>
            <a:r>
              <a:rPr lang="en-US" altLang="zh-CN" sz="2000" b="1" dirty="0" err="1"/>
              <a:t>push_front</a:t>
            </a:r>
            <a:r>
              <a:rPr lang="en-US" altLang="zh-CN" sz="2000" dirty="0"/>
              <a:t>` =&gt; std::deque(as a list)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>
                <a:solidFill>
                  <a:srgbClr val="0070C0"/>
                </a:solidFill>
              </a:rPr>
              <a:t>Try `</a:t>
            </a:r>
            <a:r>
              <a:rPr lang="en-US" altLang="zh-CN" sz="2000" b="1" dirty="0">
                <a:solidFill>
                  <a:srgbClr val="0070C0"/>
                </a:solidFill>
              </a:rPr>
              <a:t>reserve</a:t>
            </a:r>
            <a:r>
              <a:rPr lang="en-US" altLang="zh-CN" sz="2000" dirty="0">
                <a:solidFill>
                  <a:srgbClr val="0070C0"/>
                </a:solidFill>
              </a:rPr>
              <a:t>` if possibl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As to other containers … My suggestion is that you’d better ignore them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963920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BBBCBE-6CB2-43A1-A956-EBC525673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1532" y="362129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2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Today, you’ll learn:</a:t>
            </a:r>
            <a:endParaRPr lang="zh-CN" altLang="en-US" sz="28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AC23039-6D35-4FF4-A5CC-E3FABA93C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1532" y="2922026"/>
            <a:ext cx="9969189" cy="3306683"/>
          </a:xfrm>
        </p:spPr>
        <p:txBody>
          <a:bodyPr>
            <a:norm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write </a:t>
            </a: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Linux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command line cod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use </a:t>
            </a:r>
            <a:r>
              <a:rPr lang="en-US" altLang="zh-CN" sz="2000" b="1" dirty="0" err="1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CMake</a:t>
            </a:r>
            <a:r>
              <a:rPr lang="en-US" altLang="zh-CN" sz="2000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to build cross-platform C++ project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use basic </a:t>
            </a: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STL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tools to boost C++ coding efficiency(</a:t>
            </a:r>
            <a:r>
              <a:rPr lang="en-US" altLang="zh-CN" sz="2000" i="1" dirty="0">
                <a:solidFill>
                  <a:schemeClr val="bg1">
                    <a:lumMod val="75000"/>
                  </a:schemeClr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or say good bye to C++ ever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use </a:t>
            </a: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git &amp; GitHub 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for group work, code communication and …</a:t>
            </a:r>
            <a:endParaRPr lang="zh-CN" alt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6190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BE20A21-5B70-45F7-8D88-A348C7201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lgorithms —— An </a:t>
            </a:r>
            <a:r>
              <a:rPr lang="en-US" altLang="zh-CN" i="1" dirty="0"/>
              <a:t>iterator</a:t>
            </a:r>
            <a:r>
              <a:rPr lang="en-US" altLang="zh-CN" dirty="0"/>
              <a:t> view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58AABE-F15D-4440-91BD-D1171104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5662242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6049315-ABAD-4785-BB56-72BDD60103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6833" y="1028700"/>
            <a:ext cx="7903008" cy="4384677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503D9038-239D-4710-A20F-738D9337FA19}"/>
              </a:ext>
            </a:extLst>
          </p:cNvPr>
          <p:cNvSpPr/>
          <p:nvPr/>
        </p:nvSpPr>
        <p:spPr>
          <a:xfrm>
            <a:off x="1404850" y="521159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1712408-2238-4E49-81D5-C101C70CBE53}"/>
              </a:ext>
            </a:extLst>
          </p:cNvPr>
          <p:cNvSpPr/>
          <p:nvPr/>
        </p:nvSpPr>
        <p:spPr>
          <a:xfrm>
            <a:off x="1986741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819A459-61DA-4357-A6B8-9A35DF00F0A6}"/>
              </a:ext>
            </a:extLst>
          </p:cNvPr>
          <p:cNvSpPr/>
          <p:nvPr/>
        </p:nvSpPr>
        <p:spPr>
          <a:xfrm>
            <a:off x="2570708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9E3C504-B7F8-47A9-BE64-26213C5F6BC9}"/>
              </a:ext>
            </a:extLst>
          </p:cNvPr>
          <p:cNvSpPr/>
          <p:nvPr/>
        </p:nvSpPr>
        <p:spPr>
          <a:xfrm>
            <a:off x="3150523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552BBB9D-0176-4C58-8B5E-05B10E041C0F}"/>
              </a:ext>
            </a:extLst>
          </p:cNvPr>
          <p:cNvSpPr/>
          <p:nvPr/>
        </p:nvSpPr>
        <p:spPr>
          <a:xfrm>
            <a:off x="3732414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3E2A35BC-BC41-4B3C-BB8E-C755C9430997}"/>
              </a:ext>
            </a:extLst>
          </p:cNvPr>
          <p:cNvSpPr/>
          <p:nvPr/>
        </p:nvSpPr>
        <p:spPr>
          <a:xfrm>
            <a:off x="4312229" y="521159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89A15A7F-94E4-408F-820B-A863A7003CC3}"/>
              </a:ext>
            </a:extLst>
          </p:cNvPr>
          <p:cNvSpPr/>
          <p:nvPr/>
        </p:nvSpPr>
        <p:spPr>
          <a:xfrm>
            <a:off x="4894120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F40E487C-962A-43F6-BBCC-8198F521A10C}"/>
              </a:ext>
            </a:extLst>
          </p:cNvPr>
          <p:cNvSpPr/>
          <p:nvPr/>
        </p:nvSpPr>
        <p:spPr>
          <a:xfrm>
            <a:off x="5478087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0093B5C-62AA-4E65-A53B-F42B7140E529}"/>
              </a:ext>
            </a:extLst>
          </p:cNvPr>
          <p:cNvSpPr/>
          <p:nvPr/>
        </p:nvSpPr>
        <p:spPr>
          <a:xfrm>
            <a:off x="6057902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42E4941-6016-43DA-9C0D-14DED242D090}"/>
              </a:ext>
            </a:extLst>
          </p:cNvPr>
          <p:cNvSpPr/>
          <p:nvPr/>
        </p:nvSpPr>
        <p:spPr>
          <a:xfrm>
            <a:off x="6639793" y="52115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C0ECA75-31ED-4780-89A8-0353109F4071}"/>
              </a:ext>
            </a:extLst>
          </p:cNvPr>
          <p:cNvSpPr/>
          <p:nvPr/>
        </p:nvSpPr>
        <p:spPr>
          <a:xfrm>
            <a:off x="8026632" y="5260583"/>
            <a:ext cx="1286392" cy="43403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vec.end</a:t>
            </a:r>
            <a:r>
              <a:rPr lang="en-US" altLang="zh-CN" b="1" dirty="0"/>
              <a:t>()</a:t>
            </a:r>
            <a:endParaRPr lang="zh-CN" altLang="en-US" b="1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88F8A480-DF74-42C3-AD14-D8FCC046181D}"/>
              </a:ext>
            </a:extLst>
          </p:cNvPr>
          <p:cNvSpPr txBox="1"/>
          <p:nvPr/>
        </p:nvSpPr>
        <p:spPr>
          <a:xfrm>
            <a:off x="292847" y="4571513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vec.begin</a:t>
            </a:r>
            <a:r>
              <a:rPr lang="en-US" altLang="zh-CN" b="1" dirty="0"/>
              <a:t>()</a:t>
            </a:r>
            <a:endParaRPr lang="zh-CN" altLang="en-US" b="1" dirty="0"/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49A4174D-CA22-46DC-87A5-AF740E5B27F6}"/>
              </a:ext>
            </a:extLst>
          </p:cNvPr>
          <p:cNvCxnSpPr>
            <a:stCxn id="20" idx="2"/>
            <a:endCxn id="6" idx="1"/>
          </p:cNvCxnSpPr>
          <p:nvPr/>
        </p:nvCxnSpPr>
        <p:spPr>
          <a:xfrm>
            <a:off x="994321" y="4940845"/>
            <a:ext cx="410529" cy="5367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>
            <a:extLst>
              <a:ext uri="{FF2B5EF4-FFF2-40B4-BE49-F238E27FC236}">
                <a16:creationId xmlns:a16="http://schemas.microsoft.com/office/drawing/2014/main" id="{FEE4243F-D24F-4441-AA8B-D369BA6901C5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 flipV="1">
            <a:off x="7221684" y="5477599"/>
            <a:ext cx="804948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文本框 32">
            <a:extLst>
              <a:ext uri="{FF2B5EF4-FFF2-40B4-BE49-F238E27FC236}">
                <a16:creationId xmlns:a16="http://schemas.microsoft.com/office/drawing/2014/main" id="{57FAE4CA-3B81-468E-9E60-00EA4B6C89FB}"/>
              </a:ext>
            </a:extLst>
          </p:cNvPr>
          <p:cNvSpPr txBox="1"/>
          <p:nvPr/>
        </p:nvSpPr>
        <p:spPr>
          <a:xfrm>
            <a:off x="5680953" y="5849566"/>
            <a:ext cx="5686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No value here, just a dummy iterator marking the end.</a:t>
            </a:r>
            <a:endParaRPr lang="zh-CN" altLang="en-US" dirty="0"/>
          </a:p>
        </p:txBody>
      </p:sp>
      <p:cxnSp>
        <p:nvCxnSpPr>
          <p:cNvPr id="35" name="连接符: 曲线 34">
            <a:extLst>
              <a:ext uri="{FF2B5EF4-FFF2-40B4-BE49-F238E27FC236}">
                <a16:creationId xmlns:a16="http://schemas.microsoft.com/office/drawing/2014/main" id="{BC5A48B2-02D9-47E8-8545-DCAEAF937602}"/>
              </a:ext>
            </a:extLst>
          </p:cNvPr>
          <p:cNvCxnSpPr>
            <a:stCxn id="33" idx="3"/>
            <a:endCxn id="19" idx="3"/>
          </p:cNvCxnSpPr>
          <p:nvPr/>
        </p:nvCxnSpPr>
        <p:spPr>
          <a:xfrm flipH="1" flipV="1">
            <a:off x="9313024" y="5477599"/>
            <a:ext cx="2054101" cy="556633"/>
          </a:xfrm>
          <a:prstGeom prst="curvedConnector3">
            <a:avLst>
              <a:gd name="adj1" fmla="val -11129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45F9019B-D7CA-4A5A-86EE-24A038FAC9BD}"/>
              </a:ext>
            </a:extLst>
          </p:cNvPr>
          <p:cNvSpPr txBox="1"/>
          <p:nvPr/>
        </p:nvSpPr>
        <p:spPr>
          <a:xfrm>
            <a:off x="994321" y="5910446"/>
            <a:ext cx="16658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vec.begin</a:t>
            </a:r>
            <a:r>
              <a:rPr lang="en-US" altLang="zh-CN" b="1" dirty="0"/>
              <a:t>()+3</a:t>
            </a:r>
            <a:endParaRPr lang="zh-CN" altLang="en-US" b="1" dirty="0"/>
          </a:p>
        </p:txBody>
      </p:sp>
      <p:cxnSp>
        <p:nvCxnSpPr>
          <p:cNvPr id="38" name="直接箭头连接符 37">
            <a:extLst>
              <a:ext uri="{FF2B5EF4-FFF2-40B4-BE49-F238E27FC236}">
                <a16:creationId xmlns:a16="http://schemas.microsoft.com/office/drawing/2014/main" id="{7E3F7E97-CE6C-4D96-9D6B-88ED1266AA2E}"/>
              </a:ext>
            </a:extLst>
          </p:cNvPr>
          <p:cNvCxnSpPr>
            <a:stCxn id="36" idx="3"/>
            <a:endCxn id="9" idx="2"/>
          </p:cNvCxnSpPr>
          <p:nvPr/>
        </p:nvCxnSpPr>
        <p:spPr>
          <a:xfrm flipV="1">
            <a:off x="2660162" y="5743607"/>
            <a:ext cx="781307" cy="35150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1674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CE448F-8E9C-4CF6-A555-0D4D593BE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erate a container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0E46CF-061F-4900-99EA-A6D0A4A99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46AEEBB-92AD-49A3-91DC-EB3F47FD954F}"/>
              </a:ext>
            </a:extLst>
          </p:cNvPr>
          <p:cNvSpPr txBox="1"/>
          <p:nvPr/>
        </p:nvSpPr>
        <p:spPr>
          <a:xfrm>
            <a:off x="3061892" y="2164405"/>
            <a:ext cx="51251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i="1" u="sng" dirty="0"/>
              <a:t>Just the same(but more pythonic)</a:t>
            </a:r>
            <a:endParaRPr lang="zh-CN" altLang="en-US" sz="2400" b="1" i="1" u="sng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E710D53-299A-421A-919A-02D358DF66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6974" y="2981188"/>
            <a:ext cx="8142759" cy="2165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9174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567912-521C-4EDC-9FAE-302601737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nally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BA0B9B-51E9-4A21-8A6C-FB4B6EF3F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400FAC4-8C08-4CB6-BE04-17F8EFC48AF7}"/>
              </a:ext>
            </a:extLst>
          </p:cNvPr>
          <p:cNvSpPr txBox="1"/>
          <p:nvPr/>
        </p:nvSpPr>
        <p:spPr>
          <a:xfrm>
            <a:off x="3219856" y="2193587"/>
            <a:ext cx="60195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i="1" u="sng" dirty="0"/>
              <a:t>Look for what you need here</a:t>
            </a:r>
            <a:r>
              <a:rPr lang="en-US" altLang="zh-CN" i="1" u="sng" dirty="0"/>
              <a:t>(Not CSDN)</a:t>
            </a:r>
            <a:r>
              <a:rPr lang="en-US" altLang="zh-CN" b="1" i="1" u="sng" dirty="0"/>
              <a:t>. (Always ref)</a:t>
            </a:r>
            <a:endParaRPr lang="zh-CN" altLang="en-US" b="1" i="1" u="sng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7F1B047-331D-4617-8FE4-A53AD9B837FA}"/>
              </a:ext>
            </a:extLst>
          </p:cNvPr>
          <p:cNvSpPr/>
          <p:nvPr/>
        </p:nvSpPr>
        <p:spPr>
          <a:xfrm>
            <a:off x="1512651" y="2896809"/>
            <a:ext cx="107831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4800" b="1" dirty="0">
                <a:hlinkClick r:id="rId2"/>
              </a:rPr>
              <a:t>https://en.cppreference.com/w/</a:t>
            </a:r>
            <a:endParaRPr lang="zh-CN" altLang="en-US" sz="4800" b="1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D8157D3-DD33-4755-9EA4-D40FE3664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3399" y="4354052"/>
            <a:ext cx="8172510" cy="144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481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02EC37-56C1-47B8-9143-4B42844AB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Quiz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D34330F-DBB4-4452-9675-AD37419CD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8541212-753C-4CA5-BE8A-6554CD41B723}"/>
              </a:ext>
            </a:extLst>
          </p:cNvPr>
          <p:cNvSpPr txBox="1"/>
          <p:nvPr/>
        </p:nvSpPr>
        <p:spPr>
          <a:xfrm>
            <a:off x="2543783" y="1828799"/>
            <a:ext cx="6066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给定一个长度</a:t>
            </a:r>
            <a:r>
              <a:rPr lang="en-US" altLang="zh-CN" sz="2400" b="1" dirty="0"/>
              <a:t>1000</a:t>
            </a:r>
            <a:r>
              <a:rPr lang="zh-CN" altLang="en-US" sz="2400" b="1" dirty="0"/>
              <a:t>的</a:t>
            </a:r>
            <a:r>
              <a:rPr lang="en-US" altLang="zh-CN" sz="2400" b="1" dirty="0"/>
              <a:t>vector</a:t>
            </a:r>
            <a:r>
              <a:rPr lang="zh-CN" altLang="en-US" sz="2400" b="1" dirty="0"/>
              <a:t>，请将其翻转。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ECE55B4-8191-493E-84B5-1E189931F0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4557" y="2556743"/>
            <a:ext cx="4462495" cy="2590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781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it &amp; GitHub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7997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F59E20-092E-4902-9F5E-E54FAB365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it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E3AD155-BEE1-4D3D-891B-7FA7BCB01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43F3156-2D65-4FB0-9D9E-8BBD0EDB05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7665" y="1103331"/>
            <a:ext cx="8712681" cy="4410749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CB4BC436-FBD1-4EF3-A840-3F513B2442A5}"/>
              </a:ext>
            </a:extLst>
          </p:cNvPr>
          <p:cNvSpPr/>
          <p:nvPr/>
        </p:nvSpPr>
        <p:spPr>
          <a:xfrm>
            <a:off x="3362239" y="5855543"/>
            <a:ext cx="52483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>
                <a:hlinkClick r:id="rId3"/>
              </a:rPr>
              <a:t>https://www.youtube.com/watch?v=SWYqp7iY_Tc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2266A1A-D2D8-43A3-BEBA-49CE46006328}"/>
              </a:ext>
            </a:extLst>
          </p:cNvPr>
          <p:cNvSpPr/>
          <p:nvPr/>
        </p:nvSpPr>
        <p:spPr>
          <a:xfrm>
            <a:off x="2388140" y="6277766"/>
            <a:ext cx="85554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4"/>
              </a:rPr>
              <a:t>https://product.hubspot.com/blog/git-and-github-tutorial-for-beginner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9773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3B2D65-D6B7-4673-A9C0-3AD5422EE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itHub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B6E6B34-3AC5-4D42-B7C6-D511D5351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40B5F7-42A9-4BEC-B9CC-1BA229CE3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41850D1-3C90-4909-933F-FDB94FC584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17419"/>
            <a:ext cx="12192000" cy="231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029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DDFC-D122-4C0F-B102-7A121B73DD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you need to do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EF002A9-DD2A-463D-B374-5970EDBBC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4A8188C-1EDE-47FB-B9C6-51C72C50B5DC}"/>
              </a:ext>
            </a:extLst>
          </p:cNvPr>
          <p:cNvSpPr txBox="1"/>
          <p:nvPr/>
        </p:nvSpPr>
        <p:spPr>
          <a:xfrm>
            <a:off x="578796" y="1687749"/>
            <a:ext cx="10956910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b="1" dirty="0"/>
              <a:t>Ubuntu</a:t>
            </a:r>
            <a:r>
              <a:rPr lang="en-US" altLang="zh-CN" dirty="0"/>
              <a:t>:		</a:t>
            </a:r>
            <a:r>
              <a:rPr lang="en-US" altLang="zh-CN" i="1" dirty="0" err="1"/>
              <a:t>sudo</a:t>
            </a:r>
            <a:r>
              <a:rPr lang="en-US" altLang="zh-CN" i="1" dirty="0"/>
              <a:t> apt-get install git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Associate your local git with your remote GitHub account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b="1" dirty="0"/>
              <a:t>Fork</a:t>
            </a:r>
            <a:r>
              <a:rPr lang="en-US" altLang="zh-CN" dirty="0"/>
              <a:t> this repo: </a:t>
            </a:r>
            <a:r>
              <a:rPr lang="en-US" altLang="zh-CN" dirty="0">
                <a:hlinkClick r:id="rId2"/>
              </a:rPr>
              <a:t>https://github.com/ganler/SPTraining-VisionGroup</a:t>
            </a:r>
            <a:r>
              <a:rPr lang="en-US" altLang="zh-CN" dirty="0"/>
              <a:t> (I’ll appreciate it if you star my repos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solidFill>
                  <a:srgbClr val="00B050"/>
                </a:solidFill>
              </a:rPr>
              <a:t>Git clone the forked repo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solidFill>
                  <a:srgbClr val="00B050"/>
                </a:solidFill>
              </a:rPr>
              <a:t>Write your assignment code in this repo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solidFill>
                  <a:srgbClr val="00B050"/>
                </a:solidFill>
              </a:rPr>
              <a:t>Commit and push it to original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b="1" dirty="0"/>
              <a:t>Pull request </a:t>
            </a:r>
            <a:r>
              <a:rPr lang="en-US" altLang="zh-CN" dirty="0"/>
              <a:t>and I’ll do code review 4 you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FF63AFA-405C-4A12-82E6-D7E4E2EE6A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6932" y="1277110"/>
            <a:ext cx="8974814" cy="480603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46FC030-2E0C-4CDE-AC0F-193C675E4A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3717" y="1630702"/>
            <a:ext cx="9801297" cy="4176743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1835793-163A-4175-B2A3-8E8F0DF79A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12666" y="1287792"/>
            <a:ext cx="7275500" cy="473616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C8DC04B0-3F8F-4411-8A89-8DD8B9B1AD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3546" y="1951664"/>
            <a:ext cx="10484907" cy="321858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17094749-1469-4B3F-B72A-F2D5734AB5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071" y="447653"/>
            <a:ext cx="11153857" cy="596269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272190A-6C21-4B12-AB98-04BAC53CF5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7822" y="447653"/>
            <a:ext cx="729635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696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85BE5B-3BE3-4658-A1E0-AB40B1ED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ttent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28E9D5D-D594-40F2-BC3B-184002787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B2D1524-0BEA-41BE-8277-3C38A9488CD8}"/>
              </a:ext>
            </a:extLst>
          </p:cNvPr>
          <p:cNvSpPr txBox="1"/>
          <p:nvPr/>
        </p:nvSpPr>
        <p:spPr>
          <a:xfrm>
            <a:off x="1731523" y="1478604"/>
            <a:ext cx="6442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Do not push things in `build` to </a:t>
            </a:r>
            <a:r>
              <a:rPr lang="en-US" altLang="zh-CN" dirty="0" err="1"/>
              <a:t>ur</a:t>
            </a:r>
            <a:r>
              <a:rPr lang="en-US" altLang="zh-CN" dirty="0"/>
              <a:t> repo by using </a:t>
            </a:r>
            <a:r>
              <a:rPr lang="en-US" altLang="zh-CN" b="1" dirty="0">
                <a:latin typeface="Cascadia Code" panose="020B0509020204030204" pitchFamily="49" charset="0"/>
              </a:rPr>
              <a:t>.</a:t>
            </a:r>
            <a:r>
              <a:rPr lang="en-US" altLang="zh-CN" b="1" dirty="0" err="1">
                <a:latin typeface="Cascadia Code" panose="020B0509020204030204" pitchFamily="49" charset="0"/>
              </a:rPr>
              <a:t>gitignore</a:t>
            </a:r>
            <a:endParaRPr lang="zh-CN" altLang="en-US" b="1" dirty="0">
              <a:latin typeface="Cascadia Code" panose="020B0509020204030204" pitchFamily="49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DFFB13D-3BC6-48AA-97CD-B09ED30F84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115" y="2410760"/>
            <a:ext cx="8197770" cy="306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7033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94424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ASSIGNMENT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12C0E17-1E23-4814-9E50-737201B4A8EB}"/>
              </a:ext>
            </a:extLst>
          </p:cNvPr>
          <p:cNvSpPr txBox="1"/>
          <p:nvPr/>
        </p:nvSpPr>
        <p:spPr>
          <a:xfrm>
            <a:off x="1242127" y="1581350"/>
            <a:ext cx="9827777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Compile 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Facebook folly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altLang="zh-CN" sz="2000" dirty="0">
                <a:hlinkClick r:id="rId3"/>
              </a:rPr>
              <a:t>https://github.com/facebook/folly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 from source and 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record your shell codes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Use 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cv::</a:t>
            </a:r>
            <a:r>
              <a:rPr lang="en-US" altLang="zh-CN" sz="2000" b="1" u="sng" dirty="0" err="1">
                <a:latin typeface="Courier New" panose="02070309020205020404" pitchFamily="49" charset="0"/>
                <a:cs typeface="Courier New" panose="02070309020205020404" pitchFamily="49" charset="0"/>
              </a:rPr>
              <a:t>VideoCapture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zh-CN" altLang="en-US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二值化之后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in OpenCV to read a video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Finish </a:t>
            </a:r>
            <a:r>
              <a:rPr lang="en-US" altLang="zh-CN" sz="2000" b="1" u="sng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etCode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~[189, 268]</a:t>
            </a:r>
            <a:r>
              <a:rPr lang="en-US" altLang="zh-CN" sz="2000" b="1" i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using STL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Implement 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binary search with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API like </a:t>
            </a:r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r>
              <a:rPr lang="en-US" altLang="zh-CN" b="1" dirty="0"/>
              <a:t>DDL</a:t>
            </a:r>
          </a:p>
          <a:p>
            <a:pPr algn="ctr"/>
            <a:r>
              <a:rPr lang="en-US" altLang="zh-CN" sz="8000" dirty="0">
                <a:latin typeface="Cambria Math" panose="02040503050406030204" pitchFamily="18" charset="0"/>
                <a:ea typeface="Cambria Math" panose="02040503050406030204" pitchFamily="18" charset="0"/>
              </a:rPr>
              <a:t>2019/10/7</a:t>
            </a:r>
            <a:endParaRPr lang="zh-CN" altLang="en-US" sz="8000" dirty="0">
              <a:latin typeface="Cambria Math" panose="02040503050406030204" pitchFamily="18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D883160-C70D-49D5-B3DB-6E03480814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1330" y="3157322"/>
            <a:ext cx="6029369" cy="211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95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nux Shell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CBA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8">
            <a:extLst>
              <a:ext uri="{FF2B5EF4-FFF2-40B4-BE49-F238E27FC236}">
                <a16:creationId xmlns:a16="http://schemas.microsoft.com/office/drawing/2014/main" id="{64450C6E-6BC0-46FA-A735-04F3397B2256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Further Reading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43E97E4-6E6C-4204-8823-EBBA1CC55DF7}"/>
              </a:ext>
            </a:extLst>
          </p:cNvPr>
          <p:cNvSpPr/>
          <p:nvPr/>
        </p:nvSpPr>
        <p:spPr>
          <a:xfrm>
            <a:off x="3652250" y="3869665"/>
            <a:ext cx="469872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://assets.hkoi.org/training2017/cppstl.pdf</a:t>
            </a:r>
            <a:endParaRPr lang="en-US" altLang="zh-CN" dirty="0"/>
          </a:p>
          <a:p>
            <a:r>
              <a:rPr lang="en-US" altLang="zh-CN"/>
              <a:t>YOUTUBE: THECHERNOPROJEC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392801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C4B4A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4000" b="1" dirty="0">
                <a:solidFill>
                  <a:srgbClr val="FFFFFF"/>
                </a:solidFill>
                <a:latin typeface="Consolas" panose="020B0609020204030204" pitchFamily="49" charset="0"/>
              </a:rPr>
              <a:t>s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td::</a:t>
            </a:r>
            <a:r>
              <a:rPr kumimoji="0" lang="en-US" alt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quick_exit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(0);</a:t>
            </a:r>
          </a:p>
        </p:txBody>
      </p:sp>
    </p:spTree>
    <p:extLst>
      <p:ext uri="{BB962C8B-B14F-4D97-AF65-F5344CB8AC3E}">
        <p14:creationId xmlns:p14="http://schemas.microsoft.com/office/powerpoint/2010/main" val="3394775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D66499-C586-4F9F-BC78-7B5692A12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’s an OS?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4426DA2-686A-46A6-811D-3AFE7B4A3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4be90c13-0265-47d4-9235-2547409d16a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C46BA5E-7C2D-4D7C-8EBD-2F93D984BB5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2255959"/>
            <a:ext cx="10850563" cy="2129250"/>
            <a:chOff x="669925" y="2255959"/>
            <a:chExt cx="10850563" cy="2129250"/>
          </a:xfrm>
        </p:grpSpPr>
        <p:grpSp>
          <p:nvGrpSpPr>
            <p:cNvPr id="6" name="išḻiďê">
              <a:extLst>
                <a:ext uri="{FF2B5EF4-FFF2-40B4-BE49-F238E27FC236}">
                  <a16:creationId xmlns:a16="http://schemas.microsoft.com/office/drawing/2014/main" id="{1DDC39DC-35BE-4498-89E5-19990A53FC42}"/>
                </a:ext>
              </a:extLst>
            </p:cNvPr>
            <p:cNvGrpSpPr/>
            <p:nvPr/>
          </p:nvGrpSpPr>
          <p:grpSpPr>
            <a:xfrm>
              <a:off x="3868401" y="2619360"/>
              <a:ext cx="4476949" cy="1619283"/>
              <a:chOff x="3868401" y="2619360"/>
              <a:chExt cx="4476949" cy="1619283"/>
            </a:xfrm>
          </p:grpSpPr>
          <p:sp>
            <p:nvSpPr>
              <p:cNvPr id="17" name="îşľîḍê">
                <a:extLst>
                  <a:ext uri="{FF2B5EF4-FFF2-40B4-BE49-F238E27FC236}">
                    <a16:creationId xmlns:a16="http://schemas.microsoft.com/office/drawing/2014/main" id="{E07AF0F0-123E-49A6-AE71-D09F30473D25}"/>
                  </a:ext>
                </a:extLst>
              </p:cNvPr>
              <p:cNvSpPr/>
              <p:nvPr/>
            </p:nvSpPr>
            <p:spPr>
              <a:xfrm>
                <a:off x="6147753" y="2619360"/>
                <a:ext cx="2197597" cy="1619283"/>
              </a:xfrm>
              <a:prstGeom prst="homePlat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b="1" dirty="0">
                    <a:solidFill>
                      <a:schemeClr val="bg1"/>
                    </a:solidFill>
                  </a:rPr>
                  <a:t>User Interface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ïšľïḓê">
                <a:extLst>
                  <a:ext uri="{FF2B5EF4-FFF2-40B4-BE49-F238E27FC236}">
                    <a16:creationId xmlns:a16="http://schemas.microsoft.com/office/drawing/2014/main" id="{A47BE5BC-955C-4BBB-A6E6-0C3771FB1697}"/>
                  </a:ext>
                </a:extLst>
              </p:cNvPr>
              <p:cNvSpPr/>
              <p:nvPr/>
            </p:nvSpPr>
            <p:spPr>
              <a:xfrm flipH="1">
                <a:off x="3868401" y="2619360"/>
                <a:ext cx="2197597" cy="1619283"/>
              </a:xfrm>
              <a:prstGeom prst="homePlat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1440" tIns="45720" rIns="91440" bIns="45720" anchor="ctr" anchorCtr="0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OS Kernel</a:t>
                </a: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" name="ïsļîdé">
              <a:extLst>
                <a:ext uri="{FF2B5EF4-FFF2-40B4-BE49-F238E27FC236}">
                  <a16:creationId xmlns:a16="http://schemas.microsoft.com/office/drawing/2014/main" id="{66D7FC41-2C22-4A9D-AF70-B3E56A8C5CEE}"/>
                </a:ext>
              </a:extLst>
            </p:cNvPr>
            <p:cNvGrpSpPr/>
            <p:nvPr/>
          </p:nvGrpSpPr>
          <p:grpSpPr>
            <a:xfrm>
              <a:off x="9471957" y="2255959"/>
              <a:ext cx="914400" cy="914400"/>
              <a:chOff x="9733216" y="2255959"/>
              <a:chExt cx="914400" cy="914400"/>
            </a:xfrm>
          </p:grpSpPr>
          <p:sp>
            <p:nvSpPr>
              <p:cNvPr id="15" name="íŝ1ïḍè">
                <a:extLst>
                  <a:ext uri="{FF2B5EF4-FFF2-40B4-BE49-F238E27FC236}">
                    <a16:creationId xmlns:a16="http://schemas.microsoft.com/office/drawing/2014/main" id="{B86B0062-0F46-4936-8B74-911F7A16EACD}"/>
                  </a:ext>
                </a:extLst>
              </p:cNvPr>
              <p:cNvSpPr/>
              <p:nvPr/>
            </p:nvSpPr>
            <p:spPr>
              <a:xfrm>
                <a:off x="9733216" y="2255959"/>
                <a:ext cx="914400" cy="914400"/>
              </a:xfrm>
              <a:prstGeom prst="ellips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6" name="iś1ïḋé">
                <a:extLst>
                  <a:ext uri="{FF2B5EF4-FFF2-40B4-BE49-F238E27FC236}">
                    <a16:creationId xmlns:a16="http://schemas.microsoft.com/office/drawing/2014/main" id="{DE2A92B7-5AAE-4865-9F6F-43F090E8BD62}"/>
                  </a:ext>
                </a:extLst>
              </p:cNvPr>
              <p:cNvSpPr/>
              <p:nvPr/>
            </p:nvSpPr>
            <p:spPr bwMode="auto">
              <a:xfrm>
                <a:off x="9961207" y="2519461"/>
                <a:ext cx="458418" cy="387396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8" name="íṡľïḑé">
              <a:extLst>
                <a:ext uri="{FF2B5EF4-FFF2-40B4-BE49-F238E27FC236}">
                  <a16:creationId xmlns:a16="http://schemas.microsoft.com/office/drawing/2014/main" id="{F2FFBDEC-9EC5-4826-A087-23B7485E0F49}"/>
                </a:ext>
              </a:extLst>
            </p:cNvPr>
            <p:cNvGrpSpPr/>
            <p:nvPr/>
          </p:nvGrpSpPr>
          <p:grpSpPr>
            <a:xfrm>
              <a:off x="1811962" y="2255959"/>
              <a:ext cx="914400" cy="914400"/>
              <a:chOff x="1970341" y="2255959"/>
              <a:chExt cx="914400" cy="914400"/>
            </a:xfrm>
          </p:grpSpPr>
          <p:sp>
            <p:nvSpPr>
              <p:cNvPr id="13" name="îsḷiďe">
                <a:extLst>
                  <a:ext uri="{FF2B5EF4-FFF2-40B4-BE49-F238E27FC236}">
                    <a16:creationId xmlns:a16="http://schemas.microsoft.com/office/drawing/2014/main" id="{314C4DEC-A868-48BB-B4FA-151F73791D1D}"/>
                  </a:ext>
                </a:extLst>
              </p:cNvPr>
              <p:cNvSpPr/>
              <p:nvPr/>
            </p:nvSpPr>
            <p:spPr>
              <a:xfrm>
                <a:off x="1970341" y="2255959"/>
                <a:ext cx="914400" cy="9144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4" name="ïS1idé">
                <a:extLst>
                  <a:ext uri="{FF2B5EF4-FFF2-40B4-BE49-F238E27FC236}">
                    <a16:creationId xmlns:a16="http://schemas.microsoft.com/office/drawing/2014/main" id="{41326A89-E093-4AE2-99C5-2DE53A883C14}"/>
                  </a:ext>
                </a:extLst>
              </p:cNvPr>
              <p:cNvSpPr/>
              <p:nvPr/>
            </p:nvSpPr>
            <p:spPr bwMode="auto">
              <a:xfrm>
                <a:off x="2216060" y="2473406"/>
                <a:ext cx="422961" cy="479506"/>
              </a:xfrm>
              <a:custGeom>
                <a:avLst/>
                <a:gdLst>
                  <a:gd name="connsiteX0" fmla="*/ 99685 w 296863"/>
                  <a:gd name="connsiteY0" fmla="*/ 290512 h 336550"/>
                  <a:gd name="connsiteX1" fmla="*/ 90488 w 296863"/>
                  <a:gd name="connsiteY1" fmla="*/ 299244 h 336550"/>
                  <a:gd name="connsiteX2" fmla="*/ 99685 w 296863"/>
                  <a:gd name="connsiteY2" fmla="*/ 307975 h 336550"/>
                  <a:gd name="connsiteX3" fmla="*/ 119392 w 296863"/>
                  <a:gd name="connsiteY3" fmla="*/ 307975 h 336550"/>
                  <a:gd name="connsiteX4" fmla="*/ 128588 w 296863"/>
                  <a:gd name="connsiteY4" fmla="*/ 299244 h 336550"/>
                  <a:gd name="connsiteX5" fmla="*/ 119392 w 296863"/>
                  <a:gd name="connsiteY5" fmla="*/ 290512 h 336550"/>
                  <a:gd name="connsiteX6" fmla="*/ 99685 w 296863"/>
                  <a:gd name="connsiteY6" fmla="*/ 290512 h 336550"/>
                  <a:gd name="connsiteX7" fmla="*/ 0 w 296863"/>
                  <a:gd name="connsiteY7" fmla="*/ 277812 h 336550"/>
                  <a:gd name="connsiteX8" fmla="*/ 219075 w 296863"/>
                  <a:gd name="connsiteY8" fmla="*/ 277812 h 336550"/>
                  <a:gd name="connsiteX9" fmla="*/ 219075 w 296863"/>
                  <a:gd name="connsiteY9" fmla="*/ 324803 h 336550"/>
                  <a:gd name="connsiteX10" fmla="*/ 208517 w 296863"/>
                  <a:gd name="connsiteY10" fmla="*/ 336550 h 336550"/>
                  <a:gd name="connsiteX11" fmla="*/ 11877 w 296863"/>
                  <a:gd name="connsiteY11" fmla="*/ 336550 h 336550"/>
                  <a:gd name="connsiteX12" fmla="*/ 0 w 296863"/>
                  <a:gd name="connsiteY12" fmla="*/ 324803 h 336550"/>
                  <a:gd name="connsiteX13" fmla="*/ 0 w 296863"/>
                  <a:gd name="connsiteY13" fmla="*/ 277812 h 336550"/>
                  <a:gd name="connsiteX14" fmla="*/ 120721 w 296863"/>
                  <a:gd name="connsiteY14" fmla="*/ 42862 h 336550"/>
                  <a:gd name="connsiteX15" fmla="*/ 266630 w 296863"/>
                  <a:gd name="connsiteY15" fmla="*/ 42862 h 336550"/>
                  <a:gd name="connsiteX16" fmla="*/ 296863 w 296863"/>
                  <a:gd name="connsiteY16" fmla="*/ 71747 h 336550"/>
                  <a:gd name="connsiteX17" fmla="*/ 296863 w 296863"/>
                  <a:gd name="connsiteY17" fmla="*/ 151838 h 336550"/>
                  <a:gd name="connsiteX18" fmla="*/ 266630 w 296863"/>
                  <a:gd name="connsiteY18" fmla="*/ 182037 h 336550"/>
                  <a:gd name="connsiteX19" fmla="*/ 189075 w 296863"/>
                  <a:gd name="connsiteY19" fmla="*/ 182037 h 336550"/>
                  <a:gd name="connsiteX20" fmla="*/ 156213 w 296863"/>
                  <a:gd name="connsiteY20" fmla="*/ 214861 h 336550"/>
                  <a:gd name="connsiteX21" fmla="*/ 148326 w 296863"/>
                  <a:gd name="connsiteY21" fmla="*/ 217487 h 336550"/>
                  <a:gd name="connsiteX22" fmla="*/ 143068 w 296863"/>
                  <a:gd name="connsiteY22" fmla="*/ 217487 h 336550"/>
                  <a:gd name="connsiteX23" fmla="*/ 136495 w 296863"/>
                  <a:gd name="connsiteY23" fmla="*/ 206983 h 336550"/>
                  <a:gd name="connsiteX24" fmla="*/ 136495 w 296863"/>
                  <a:gd name="connsiteY24" fmla="*/ 182037 h 336550"/>
                  <a:gd name="connsiteX25" fmla="*/ 120721 w 296863"/>
                  <a:gd name="connsiteY25" fmla="*/ 182037 h 336550"/>
                  <a:gd name="connsiteX26" fmla="*/ 90488 w 296863"/>
                  <a:gd name="connsiteY26" fmla="*/ 151838 h 336550"/>
                  <a:gd name="connsiteX27" fmla="*/ 90488 w 296863"/>
                  <a:gd name="connsiteY27" fmla="*/ 71747 h 336550"/>
                  <a:gd name="connsiteX28" fmla="*/ 120721 w 296863"/>
                  <a:gd name="connsiteY28" fmla="*/ 42862 h 336550"/>
                  <a:gd name="connsiteX29" fmla="*/ 11877 w 296863"/>
                  <a:gd name="connsiteY29" fmla="*/ 0 h 336550"/>
                  <a:gd name="connsiteX30" fmla="*/ 208517 w 296863"/>
                  <a:gd name="connsiteY30" fmla="*/ 0 h 336550"/>
                  <a:gd name="connsiteX31" fmla="*/ 219075 w 296863"/>
                  <a:gd name="connsiteY31" fmla="*/ 11821 h 336550"/>
                  <a:gd name="connsiteX32" fmla="*/ 219075 w 296863"/>
                  <a:gd name="connsiteY32" fmla="*/ 24957 h 336550"/>
                  <a:gd name="connsiteX33" fmla="*/ 121415 w 296863"/>
                  <a:gd name="connsiteY33" fmla="*/ 24957 h 336550"/>
                  <a:gd name="connsiteX34" fmla="*/ 72585 w 296863"/>
                  <a:gd name="connsiteY34" fmla="*/ 72243 h 336550"/>
                  <a:gd name="connsiteX35" fmla="*/ 72585 w 296863"/>
                  <a:gd name="connsiteY35" fmla="*/ 152368 h 336550"/>
                  <a:gd name="connsiteX36" fmla="*/ 118776 w 296863"/>
                  <a:gd name="connsiteY36" fmla="*/ 200968 h 336550"/>
                  <a:gd name="connsiteX37" fmla="*/ 118776 w 296863"/>
                  <a:gd name="connsiteY37" fmla="*/ 207536 h 336550"/>
                  <a:gd name="connsiteX38" fmla="*/ 137252 w 296863"/>
                  <a:gd name="connsiteY38" fmla="*/ 233806 h 336550"/>
                  <a:gd name="connsiteX39" fmla="*/ 149130 w 296863"/>
                  <a:gd name="connsiteY39" fmla="*/ 236433 h 336550"/>
                  <a:gd name="connsiteX40" fmla="*/ 170245 w 296863"/>
                  <a:gd name="connsiteY40" fmla="*/ 228552 h 336550"/>
                  <a:gd name="connsiteX41" fmla="*/ 196640 w 296863"/>
                  <a:gd name="connsiteY41" fmla="*/ 200968 h 336550"/>
                  <a:gd name="connsiteX42" fmla="*/ 219075 w 296863"/>
                  <a:gd name="connsiteY42" fmla="*/ 200968 h 336550"/>
                  <a:gd name="connsiteX43" fmla="*/ 219075 w 296863"/>
                  <a:gd name="connsiteY43" fmla="*/ 258763 h 336550"/>
                  <a:gd name="connsiteX44" fmla="*/ 0 w 296863"/>
                  <a:gd name="connsiteY44" fmla="*/ 258763 h 336550"/>
                  <a:gd name="connsiteX45" fmla="*/ 0 w 296863"/>
                  <a:gd name="connsiteY45" fmla="*/ 11821 h 336550"/>
                  <a:gd name="connsiteX46" fmla="*/ 11877 w 296863"/>
                  <a:gd name="connsiteY46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96863" h="336550">
                    <a:moveTo>
                      <a:pt x="99685" y="290512"/>
                    </a:moveTo>
                    <a:cubicBezTo>
                      <a:pt x="94430" y="290512"/>
                      <a:pt x="90488" y="294254"/>
                      <a:pt x="90488" y="299244"/>
                    </a:cubicBezTo>
                    <a:cubicBezTo>
                      <a:pt x="90488" y="304233"/>
                      <a:pt x="94430" y="307975"/>
                      <a:pt x="99685" y="307975"/>
                    </a:cubicBezTo>
                    <a:cubicBezTo>
                      <a:pt x="99685" y="307975"/>
                      <a:pt x="99685" y="307975"/>
                      <a:pt x="119392" y="307975"/>
                    </a:cubicBezTo>
                    <a:cubicBezTo>
                      <a:pt x="124647" y="307975"/>
                      <a:pt x="128588" y="304233"/>
                      <a:pt x="128588" y="299244"/>
                    </a:cubicBezTo>
                    <a:cubicBezTo>
                      <a:pt x="128588" y="294254"/>
                      <a:pt x="124647" y="290512"/>
                      <a:pt x="119392" y="290512"/>
                    </a:cubicBezTo>
                    <a:cubicBezTo>
                      <a:pt x="119392" y="290512"/>
                      <a:pt x="119392" y="290512"/>
                      <a:pt x="99685" y="290512"/>
                    </a:cubicBezTo>
                    <a:close/>
                    <a:moveTo>
                      <a:pt x="0" y="277812"/>
                    </a:moveTo>
                    <a:lnTo>
                      <a:pt x="219075" y="277812"/>
                    </a:lnTo>
                    <a:cubicBezTo>
                      <a:pt x="219075" y="277812"/>
                      <a:pt x="219075" y="277812"/>
                      <a:pt x="219075" y="324803"/>
                    </a:cubicBezTo>
                    <a:cubicBezTo>
                      <a:pt x="219075" y="331329"/>
                      <a:pt x="213796" y="336550"/>
                      <a:pt x="208517" y="336550"/>
                    </a:cubicBezTo>
                    <a:cubicBezTo>
                      <a:pt x="208517" y="336550"/>
                      <a:pt x="208517" y="336550"/>
                      <a:pt x="11877" y="336550"/>
                    </a:cubicBezTo>
                    <a:cubicBezTo>
                      <a:pt x="5279" y="336550"/>
                      <a:pt x="0" y="331329"/>
                      <a:pt x="0" y="324803"/>
                    </a:cubicBezTo>
                    <a:cubicBezTo>
                      <a:pt x="0" y="324803"/>
                      <a:pt x="0" y="324803"/>
                      <a:pt x="0" y="277812"/>
                    </a:cubicBezTo>
                    <a:close/>
                    <a:moveTo>
                      <a:pt x="120721" y="42862"/>
                    </a:moveTo>
                    <a:cubicBezTo>
                      <a:pt x="120721" y="42862"/>
                      <a:pt x="120721" y="42862"/>
                      <a:pt x="266630" y="42862"/>
                    </a:cubicBezTo>
                    <a:cubicBezTo>
                      <a:pt x="283718" y="42862"/>
                      <a:pt x="296863" y="55991"/>
                      <a:pt x="296863" y="71747"/>
                    </a:cubicBezTo>
                    <a:cubicBezTo>
                      <a:pt x="296863" y="71747"/>
                      <a:pt x="296863" y="71747"/>
                      <a:pt x="296863" y="151838"/>
                    </a:cubicBezTo>
                    <a:cubicBezTo>
                      <a:pt x="296863" y="168907"/>
                      <a:pt x="283718" y="182037"/>
                      <a:pt x="266630" y="182037"/>
                    </a:cubicBezTo>
                    <a:cubicBezTo>
                      <a:pt x="266630" y="182037"/>
                      <a:pt x="266630" y="182037"/>
                      <a:pt x="189075" y="182037"/>
                    </a:cubicBezTo>
                    <a:cubicBezTo>
                      <a:pt x="189075" y="182037"/>
                      <a:pt x="189075" y="182037"/>
                      <a:pt x="156213" y="214861"/>
                    </a:cubicBezTo>
                    <a:cubicBezTo>
                      <a:pt x="153584" y="216174"/>
                      <a:pt x="150955" y="217487"/>
                      <a:pt x="148326" y="217487"/>
                    </a:cubicBezTo>
                    <a:cubicBezTo>
                      <a:pt x="147011" y="217487"/>
                      <a:pt x="144382" y="217487"/>
                      <a:pt x="143068" y="217487"/>
                    </a:cubicBezTo>
                    <a:cubicBezTo>
                      <a:pt x="139124" y="214861"/>
                      <a:pt x="136495" y="210922"/>
                      <a:pt x="136495" y="206983"/>
                    </a:cubicBezTo>
                    <a:cubicBezTo>
                      <a:pt x="136495" y="206983"/>
                      <a:pt x="136495" y="206983"/>
                      <a:pt x="136495" y="182037"/>
                    </a:cubicBezTo>
                    <a:cubicBezTo>
                      <a:pt x="136495" y="182037"/>
                      <a:pt x="136495" y="182037"/>
                      <a:pt x="120721" y="182037"/>
                    </a:cubicBezTo>
                    <a:cubicBezTo>
                      <a:pt x="103633" y="182037"/>
                      <a:pt x="90488" y="168907"/>
                      <a:pt x="90488" y="151838"/>
                    </a:cubicBezTo>
                    <a:cubicBezTo>
                      <a:pt x="90488" y="151838"/>
                      <a:pt x="90488" y="151838"/>
                      <a:pt x="90488" y="71747"/>
                    </a:cubicBezTo>
                    <a:cubicBezTo>
                      <a:pt x="90488" y="55991"/>
                      <a:pt x="103633" y="42862"/>
                      <a:pt x="120721" y="42862"/>
                    </a:cubicBezTo>
                    <a:close/>
                    <a:moveTo>
                      <a:pt x="11877" y="0"/>
                    </a:moveTo>
                    <a:cubicBezTo>
                      <a:pt x="11877" y="0"/>
                      <a:pt x="11877" y="0"/>
                      <a:pt x="208517" y="0"/>
                    </a:cubicBezTo>
                    <a:cubicBezTo>
                      <a:pt x="213796" y="0"/>
                      <a:pt x="219075" y="5254"/>
                      <a:pt x="219075" y="11821"/>
                    </a:cubicBezTo>
                    <a:cubicBezTo>
                      <a:pt x="219075" y="11821"/>
                      <a:pt x="219075" y="11821"/>
                      <a:pt x="219075" y="24957"/>
                    </a:cubicBezTo>
                    <a:cubicBezTo>
                      <a:pt x="219075" y="24957"/>
                      <a:pt x="219075" y="24957"/>
                      <a:pt x="121415" y="24957"/>
                    </a:cubicBezTo>
                    <a:cubicBezTo>
                      <a:pt x="95021" y="24957"/>
                      <a:pt x="72585" y="45973"/>
                      <a:pt x="72585" y="72243"/>
                    </a:cubicBezTo>
                    <a:cubicBezTo>
                      <a:pt x="72585" y="72243"/>
                      <a:pt x="72585" y="72243"/>
                      <a:pt x="72585" y="152368"/>
                    </a:cubicBezTo>
                    <a:cubicBezTo>
                      <a:pt x="72585" y="178638"/>
                      <a:pt x="93701" y="199654"/>
                      <a:pt x="118776" y="200968"/>
                    </a:cubicBezTo>
                    <a:cubicBezTo>
                      <a:pt x="118776" y="200968"/>
                      <a:pt x="118776" y="200968"/>
                      <a:pt x="118776" y="207536"/>
                    </a:cubicBezTo>
                    <a:cubicBezTo>
                      <a:pt x="118776" y="219357"/>
                      <a:pt x="126694" y="229865"/>
                      <a:pt x="137252" y="233806"/>
                    </a:cubicBezTo>
                    <a:cubicBezTo>
                      <a:pt x="141211" y="236433"/>
                      <a:pt x="145170" y="236433"/>
                      <a:pt x="149130" y="236433"/>
                    </a:cubicBezTo>
                    <a:cubicBezTo>
                      <a:pt x="157048" y="236433"/>
                      <a:pt x="163647" y="233806"/>
                      <a:pt x="170245" y="228552"/>
                    </a:cubicBezTo>
                    <a:cubicBezTo>
                      <a:pt x="170245" y="228552"/>
                      <a:pt x="170245" y="228552"/>
                      <a:pt x="196640" y="200968"/>
                    </a:cubicBezTo>
                    <a:cubicBezTo>
                      <a:pt x="196640" y="200968"/>
                      <a:pt x="196640" y="200968"/>
                      <a:pt x="219075" y="200968"/>
                    </a:cubicBezTo>
                    <a:cubicBezTo>
                      <a:pt x="219075" y="200968"/>
                      <a:pt x="219075" y="200968"/>
                      <a:pt x="219075" y="258763"/>
                    </a:cubicBezTo>
                    <a:lnTo>
                      <a:pt x="0" y="258763"/>
                    </a:lnTo>
                    <a:cubicBezTo>
                      <a:pt x="0" y="258763"/>
                      <a:pt x="0" y="258763"/>
                      <a:pt x="0" y="11821"/>
                    </a:cubicBezTo>
                    <a:cubicBezTo>
                      <a:pt x="0" y="5254"/>
                      <a:pt x="5279" y="0"/>
                      <a:pt x="118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9" name="ïṧḻïḓe">
              <a:extLst>
                <a:ext uri="{FF2B5EF4-FFF2-40B4-BE49-F238E27FC236}">
                  <a16:creationId xmlns:a16="http://schemas.microsoft.com/office/drawing/2014/main" id="{E7A6697C-1D6F-4A8A-93CC-A1440E1AD2EB}"/>
                </a:ext>
              </a:extLst>
            </p:cNvPr>
            <p:cNvSpPr/>
            <p:nvPr/>
          </p:nvSpPr>
          <p:spPr bwMode="auto">
            <a:xfrm>
              <a:off x="669925" y="3829612"/>
              <a:ext cx="3198474" cy="555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 err="1"/>
                <a:t>i.g</a:t>
              </a:r>
              <a:r>
                <a:rPr lang="en-US" altLang="zh-CN" sz="1100" dirty="0"/>
                <a:t>: Linux kernel, NT kernel.</a:t>
              </a:r>
            </a:p>
          </p:txBody>
        </p:sp>
        <p:sp>
          <p:nvSpPr>
            <p:cNvPr id="10" name="iṧḻîḑé">
              <a:extLst>
                <a:ext uri="{FF2B5EF4-FFF2-40B4-BE49-F238E27FC236}">
                  <a16:creationId xmlns:a16="http://schemas.microsoft.com/office/drawing/2014/main" id="{DDED9EBF-EFC1-4162-A9D9-0EFDB5B3B830}"/>
                </a:ext>
              </a:extLst>
            </p:cNvPr>
            <p:cNvSpPr txBox="1"/>
            <p:nvPr/>
          </p:nvSpPr>
          <p:spPr bwMode="auto">
            <a:xfrm>
              <a:off x="669925" y="3387806"/>
              <a:ext cx="3198475" cy="43308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Maintain the system and work for users.</a:t>
              </a:r>
            </a:p>
          </p:txBody>
        </p:sp>
        <p:sp>
          <p:nvSpPr>
            <p:cNvPr id="11" name="işliḍé">
              <a:extLst>
                <a:ext uri="{FF2B5EF4-FFF2-40B4-BE49-F238E27FC236}">
                  <a16:creationId xmlns:a16="http://schemas.microsoft.com/office/drawing/2014/main" id="{E7A6697C-1D6F-4A8A-93CC-A1440E1AD2EB}"/>
                </a:ext>
              </a:extLst>
            </p:cNvPr>
            <p:cNvSpPr/>
            <p:nvPr/>
          </p:nvSpPr>
          <p:spPr bwMode="auto">
            <a:xfrm>
              <a:off x="8345351" y="3820886"/>
              <a:ext cx="3175136" cy="564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Shell, Windows </a:t>
              </a:r>
              <a:r>
                <a:rPr lang="en-US" altLang="zh-CN" sz="1100" dirty="0" err="1"/>
                <a:t>cmd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12" name="iṣḷïḓe">
              <a:extLst>
                <a:ext uri="{FF2B5EF4-FFF2-40B4-BE49-F238E27FC236}">
                  <a16:creationId xmlns:a16="http://schemas.microsoft.com/office/drawing/2014/main" id="{DDED9EBF-EFC1-4162-A9D9-0EFDB5B3B830}"/>
                </a:ext>
              </a:extLst>
            </p:cNvPr>
            <p:cNvSpPr txBox="1"/>
            <p:nvPr/>
          </p:nvSpPr>
          <p:spPr bwMode="auto">
            <a:xfrm>
              <a:off x="8345351" y="3381004"/>
              <a:ext cx="3175137" cy="43988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 fontScale="925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Bridge between u and OS</a:t>
              </a:r>
            </a:p>
          </p:txBody>
        </p:sp>
      </p:grpSp>
      <p:sp>
        <p:nvSpPr>
          <p:cNvPr id="21" name="矩形 20">
            <a:extLst>
              <a:ext uri="{FF2B5EF4-FFF2-40B4-BE49-F238E27FC236}">
                <a16:creationId xmlns:a16="http://schemas.microsoft.com/office/drawing/2014/main" id="{69B02137-A43E-4E5C-BA5F-0CB7037DE840}"/>
              </a:ext>
            </a:extLst>
          </p:cNvPr>
          <p:cNvSpPr/>
          <p:nvPr/>
        </p:nvSpPr>
        <p:spPr>
          <a:xfrm>
            <a:off x="179465" y="1267519"/>
            <a:ext cx="5915740" cy="5179325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42A0FA7C-E79B-4741-8AB4-034FF9AD49A3}"/>
              </a:ext>
            </a:extLst>
          </p:cNvPr>
          <p:cNvSpPr txBox="1"/>
          <p:nvPr/>
        </p:nvSpPr>
        <p:spPr>
          <a:xfrm>
            <a:off x="669924" y="4632414"/>
            <a:ext cx="52941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If you want to write </a:t>
            </a:r>
            <a:r>
              <a:rPr lang="en-US" altLang="zh-CN" sz="2400" b="1" dirty="0" err="1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ur</a:t>
            </a:r>
            <a:r>
              <a:rPr lang="en-US" altLang="zh-CN" sz="2400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own OS or make some low level optimizations.</a:t>
            </a:r>
            <a:endParaRPr lang="zh-CN" altLang="en-US" sz="2400" b="1" dirty="0">
              <a:solidFill>
                <a:schemeClr val="accent3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833AC1BC-D0AD-4989-8B67-855C4E614D01}"/>
              </a:ext>
            </a:extLst>
          </p:cNvPr>
          <p:cNvSpPr txBox="1"/>
          <p:nvPr/>
        </p:nvSpPr>
        <p:spPr>
          <a:xfrm>
            <a:off x="6292028" y="4570141"/>
            <a:ext cx="41695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Now, we just want to use it. SO we need to learn some </a:t>
            </a:r>
            <a:r>
              <a:rPr lang="en-US" altLang="zh-CN" b="1" dirty="0">
                <a:solidFill>
                  <a:schemeClr val="accent3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SHELL</a:t>
            </a:r>
            <a:r>
              <a:rPr lang="en-US" altLang="zh-CN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stuff,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5978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029 0.02176 L 0.01029 0.02176 C 0.01055 0.01805 0.01081 0.01435 0.01133 0.01065 C 0.0125 0.00324 0.01276 0.00509 0.01472 -0.00023 C 0.01628 -0.0044 0.01771 -0.0088 0.01914 -0.0132 C 0.02031 -0.01644 0.02266 -0.02384 0.0237 -0.02616 C 0.02669 -0.03333 0.02904 -0.04167 0.03255 -0.04792 C 0.03386 -0.05023 0.03529 -0.05255 0.03659 -0.05486 C 0.04401 -0.0706 0.03998 -0.06621 0.04935 -0.07986 C 0.05065 -0.08171 0.06758 -0.10417 0.07123 -0.10857 C 0.07344 -0.11134 0.07578 -0.11366 0.078 -0.11667 C 0.08685 -0.12894 0.07917 -0.11875 0.09141 -0.13264 C 0.09362 -0.13519 0.0957 -0.1382 0.09805 -0.14051 C 0.10052 -0.14283 0.10339 -0.14421 0.10586 -0.14653 C 0.11042 -0.15023 0.11472 -0.15509 0.1194 -0.15833 C 0.12474 -0.16227 0.13073 -0.16458 0.13555 -0.17037 C 0.14232 -0.17824 0.13867 -0.17593 0.14675 -0.17732 C 0.14844 -0.17801 0.15026 -0.17824 0.15182 -0.17917 C 0.15638 -0.18241 0.15768 -0.18565 0.16185 -0.18727 C 0.16849 -0.18982 0.16445 -0.18634 0.17136 -0.19028 C 0.17279 -0.19097 0.17396 -0.19259 0.17526 -0.19329 C 0.17943 -0.19514 0.18451 -0.1956 0.1888 -0.19607 L 0.24805 -0.19421 C 0.24974 -0.19398 0.25143 -0.19283 0.25313 -0.19213 C 0.26185 -0.18843 0.25352 -0.1919 0.26602 -0.18426 C 0.27018 -0.18171 0.27253 -0.18195 0.27722 -0.18125 C 0.27852 -0.17917 0.27956 -0.17662 0.28112 -0.17523 C 0.28268 -0.17408 0.28451 -0.175 0.28607 -0.17431 C 0.28724 -0.17384 0.28828 -0.17269 0.28945 -0.17222 C 0.29284 -0.17107 0.29961 -0.16921 0.29961 -0.16921 C 0.30065 -0.16806 0.30169 -0.16644 0.30287 -0.16528 C 0.30456 -0.16412 0.30638 -0.16389 0.30794 -0.16227 C 0.30912 -0.16111 0.30964 -0.15857 0.31081 -0.15741 C 0.31263 -0.15556 0.31485 -0.15486 0.31693 -0.15347 C 0.31784 -0.15255 0.31875 -0.15139 0.31966 -0.15046 C 0.32175 -0.14861 0.32383 -0.14746 0.32591 -0.14537 C 0.32669 -0.14468 0.32735 -0.14329 0.32813 -0.14236 C 0.32917 -0.14144 0.33034 -0.14074 0.33151 -0.13958 C 0.33568 -0.13496 0.3349 -0.13403 0.33932 -0.13056 C 0.33998 -0.12986 0.34076 -0.12986 0.34154 -0.12963 C 0.34245 -0.12778 0.34323 -0.12593 0.34427 -0.12454 C 0.34492 -0.12384 0.34584 -0.12431 0.34662 -0.12361 C 0.34792 -0.12222 0.34922 -0.12037 0.35052 -0.11852 C 0.35104 -0.11783 0.35156 -0.11644 0.35222 -0.11551 C 0.35365 -0.11389 0.35521 -0.1125 0.35664 -0.11065 C 0.36302 -0.10185 0.35547 -0.1088 0.36341 -0.10278 C 0.36406 -0.10093 0.36459 -0.09908 0.36563 -0.09769 C 0.375 -0.08542 0.3638 -0.10533 0.37344 -0.08982 C 0.37435 -0.08843 0.37487 -0.08634 0.37565 -0.08472 C 0.37748 -0.08102 0.37787 -0.08148 0.38008 -0.07778 C 0.38242 -0.07431 0.38177 -0.07454 0.38412 -0.06991 C 0.3849 -0.06806 0.38594 -0.06644 0.38685 -0.06482 C 0.38724 -0.06273 0.38776 -0.05949 0.38854 -0.05787 C 0.38932 -0.05625 0.39076 -0.05556 0.39193 -0.05486 C 0.39258 -0.05371 0.39323 -0.05185 0.39414 -0.05093 C 0.39492 -0.05023 0.39597 -0.05046 0.39688 -0.05 C 0.39753 -0.04977 0.39805 -0.04931 0.39857 -0.04908 C 0.40182 -0.04329 0.39857 -0.04792 0.40248 -0.04491 C 0.40313 -0.04445 0.40365 -0.04352 0.40417 -0.04306 C 0.40534 -0.04213 0.40638 -0.04167 0.40755 -0.04097 C 0.41081 -0.03727 0.4082 -0.03982 0.41432 -0.03704 C 0.4168 -0.03588 0.41628 -0.03519 0.41927 -0.0331 C 0.4211 -0.03171 0.42448 -0.03148 0.42604 -0.03102 C 0.42682 -0.03079 0.42748 -0.03033 0.42826 -0.03009 C 0.43112 -0.02755 0.4319 -0.02639 0.43503 -0.025 C 0.43828 -0.02361 0.44414 -0.02338 0.44675 -0.02315 C 0.45065 -0.01783 0.44714 -0.02176 0.45235 -0.01921 C 0.4612 -0.01482 0.44453 -0.01713 0.46576 -0.0132 C 0.47943 -0.01065 0.47279 -0.01111 0.48542 -0.01111 " pathEditMode="relative" ptsTypes="AAAAAAAAAAAAAAAAAAAAAAAAAAAAAAAAAAAAAAAAAAAAAAAAAAAAAAAAAAAAAAAAAAAAA">
                                      <p:cBhvr>
                                        <p:cTn id="19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22" grpId="0"/>
      <p:bldP spid="22" grpId="1"/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CB03A1-F3CD-4417-B797-129C5D1A5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dern OS = Kernel + Interface(CLI + GUI)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3D5B32B-A33D-44B7-BD82-65DC687BF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ce3a2b1-4bc3-4e65-9a52-0ccb868cfb2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38595F-54EF-4F06-888F-D89F8F812E2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982106" y="1326832"/>
            <a:ext cx="7538381" cy="4855182"/>
            <a:chOff x="3982107" y="1285643"/>
            <a:chExt cx="7538381" cy="485518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53E5C83A-2892-4504-AC34-931E9AD592FB}"/>
                </a:ext>
              </a:extLst>
            </p:cNvPr>
            <p:cNvCxnSpPr>
              <a:cxnSpLocks/>
              <a:stCxn id="10" idx="2"/>
            </p:cNvCxnSpPr>
            <p:nvPr/>
          </p:nvCxnSpPr>
          <p:spPr>
            <a:xfrm flipH="1" flipV="1">
              <a:off x="7751295" y="3429000"/>
              <a:ext cx="2" cy="105733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47C7A31A-259A-415F-91EA-7C08271CE626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flipH="1" flipV="1">
              <a:off x="10017314" y="2237699"/>
              <a:ext cx="2" cy="224863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A6B9A562-C1FB-4C46-BBD6-C73B815A5203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 flipH="1" flipV="1">
              <a:off x="5485279" y="4286035"/>
              <a:ext cx="1" cy="20029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íṥḻïḋè">
              <a:extLst>
                <a:ext uri="{FF2B5EF4-FFF2-40B4-BE49-F238E27FC236}">
                  <a16:creationId xmlns:a16="http://schemas.microsoft.com/office/drawing/2014/main" id="{93F3ED03-4538-4E12-9280-2F262A88153A}"/>
                </a:ext>
              </a:extLst>
            </p:cNvPr>
            <p:cNvSpPr/>
            <p:nvPr/>
          </p:nvSpPr>
          <p:spPr>
            <a:xfrm flipV="1">
              <a:off x="3982107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ïṥľide">
              <a:extLst>
                <a:ext uri="{FF2B5EF4-FFF2-40B4-BE49-F238E27FC236}">
                  <a16:creationId xmlns:a16="http://schemas.microsoft.com/office/drawing/2014/main" id="{7A08E8E7-7638-4A2B-ABBB-0299A959AD2D}"/>
                </a:ext>
              </a:extLst>
            </p:cNvPr>
            <p:cNvSpPr/>
            <p:nvPr/>
          </p:nvSpPr>
          <p:spPr>
            <a:xfrm flipV="1">
              <a:off x="6248124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3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iš1íďê">
              <a:extLst>
                <a:ext uri="{FF2B5EF4-FFF2-40B4-BE49-F238E27FC236}">
                  <a16:creationId xmlns:a16="http://schemas.microsoft.com/office/drawing/2014/main" id="{B0047398-F3CF-4614-AF4A-F41BAD5447F6}"/>
                </a:ext>
              </a:extLst>
            </p:cNvPr>
            <p:cNvSpPr/>
            <p:nvPr/>
          </p:nvSpPr>
          <p:spPr>
            <a:xfrm flipV="1">
              <a:off x="8514143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$lïďé">
              <a:extLst>
                <a:ext uri="{FF2B5EF4-FFF2-40B4-BE49-F238E27FC236}">
                  <a16:creationId xmlns:a16="http://schemas.microsoft.com/office/drawing/2014/main" id="{5836D5F9-1595-4CFA-8E25-0D9268890360}"/>
                </a:ext>
              </a:extLst>
            </p:cNvPr>
            <p:cNvSpPr/>
            <p:nvPr/>
          </p:nvSpPr>
          <p:spPr bwMode="auto">
            <a:xfrm>
              <a:off x="7496420" y="5101636"/>
              <a:ext cx="509753" cy="430778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ŝḻîḍê">
              <a:extLst>
                <a:ext uri="{FF2B5EF4-FFF2-40B4-BE49-F238E27FC236}">
                  <a16:creationId xmlns:a16="http://schemas.microsoft.com/office/drawing/2014/main" id="{C2D24CCE-65B6-44BF-9693-51C9F5EFA568}"/>
                </a:ext>
              </a:extLst>
            </p:cNvPr>
            <p:cNvSpPr/>
            <p:nvPr/>
          </p:nvSpPr>
          <p:spPr bwMode="auto">
            <a:xfrm>
              <a:off x="5188831" y="5066505"/>
              <a:ext cx="592896" cy="501040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ś1íḍe">
              <a:extLst>
                <a:ext uri="{FF2B5EF4-FFF2-40B4-BE49-F238E27FC236}">
                  <a16:creationId xmlns:a16="http://schemas.microsoft.com/office/drawing/2014/main" id="{578F2E08-9588-48D2-8A26-6F0573870CD2}"/>
                </a:ext>
              </a:extLst>
            </p:cNvPr>
            <p:cNvSpPr/>
            <p:nvPr/>
          </p:nvSpPr>
          <p:spPr bwMode="auto">
            <a:xfrm>
              <a:off x="9715173" y="5061693"/>
              <a:ext cx="604285" cy="510664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ŝḻíde">
              <a:extLst>
                <a:ext uri="{FF2B5EF4-FFF2-40B4-BE49-F238E27FC236}">
                  <a16:creationId xmlns:a16="http://schemas.microsoft.com/office/drawing/2014/main" id="{2C3299B3-AFC4-450C-BBF3-825D5D306EC6}"/>
                </a:ext>
              </a:extLst>
            </p:cNvPr>
            <p:cNvSpPr/>
            <p:nvPr/>
          </p:nvSpPr>
          <p:spPr>
            <a:xfrm>
              <a:off x="4598023" y="3333979"/>
              <a:ext cx="1774513" cy="3254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 dirty="0"/>
                <a:t>GUI: GNOME</a:t>
              </a:r>
              <a:endParaRPr lang="zh-CN" altLang="en-US" b="1" dirty="0"/>
            </a:p>
          </p:txBody>
        </p:sp>
        <p:sp>
          <p:nvSpPr>
            <p:cNvPr id="22" name="íślíḋé">
              <a:extLst>
                <a:ext uri="{FF2B5EF4-FFF2-40B4-BE49-F238E27FC236}">
                  <a16:creationId xmlns:a16="http://schemas.microsoft.com/office/drawing/2014/main" id="{240A807A-C428-497C-835C-A91D52C18C6C}"/>
                </a:ext>
              </a:extLst>
            </p:cNvPr>
            <p:cNvSpPr/>
            <p:nvPr/>
          </p:nvSpPr>
          <p:spPr>
            <a:xfrm>
              <a:off x="6864039" y="2476944"/>
              <a:ext cx="1774513" cy="3254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 dirty="0"/>
                <a:t>CLI(shell): </a:t>
              </a:r>
              <a:r>
                <a:rPr lang="en-US" altLang="zh-CN" b="1" dirty="0" err="1"/>
                <a:t>zsh</a:t>
              </a:r>
              <a:endParaRPr lang="zh-CN" altLang="en-US" b="1" dirty="0"/>
            </a:p>
          </p:txBody>
        </p:sp>
        <p:sp>
          <p:nvSpPr>
            <p:cNvPr id="20" name="î$ḻîḋe">
              <a:extLst>
                <a:ext uri="{FF2B5EF4-FFF2-40B4-BE49-F238E27FC236}">
                  <a16:creationId xmlns:a16="http://schemas.microsoft.com/office/drawing/2014/main" id="{9B3E822A-73FC-43E4-958F-34D5D47FD012}"/>
                </a:ext>
              </a:extLst>
            </p:cNvPr>
            <p:cNvSpPr/>
            <p:nvPr/>
          </p:nvSpPr>
          <p:spPr>
            <a:xfrm>
              <a:off x="9130058" y="1285643"/>
              <a:ext cx="1774513" cy="3254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 dirty="0"/>
                <a:t>Linux Kernel</a:t>
              </a:r>
              <a:endParaRPr lang="zh-CN" altLang="en-US" b="1" dirty="0"/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714A2ADE-BB94-45D9-B33E-6FCF79C03C2D}"/>
              </a:ext>
            </a:extLst>
          </p:cNvPr>
          <p:cNvSpPr txBox="1"/>
          <p:nvPr/>
        </p:nvSpPr>
        <p:spPr>
          <a:xfrm>
            <a:off x="669924" y="1326832"/>
            <a:ext cx="48333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CLI in Linux: </a:t>
            </a:r>
          </a:p>
          <a:p>
            <a:r>
              <a:rPr lang="en-US" altLang="zh-CN" dirty="0"/>
              <a:t>Many </a:t>
            </a:r>
            <a:r>
              <a:rPr lang="en-US" altLang="zh-CN" dirty="0" err="1"/>
              <a:t>many</a:t>
            </a:r>
            <a:r>
              <a:rPr lang="en-US" altLang="zh-CN" dirty="0"/>
              <a:t> kinds of shells := bash, </a:t>
            </a:r>
            <a:r>
              <a:rPr lang="en-US" altLang="zh-CN" dirty="0" err="1"/>
              <a:t>sh</a:t>
            </a:r>
            <a:r>
              <a:rPr lang="en-US" altLang="zh-CN" dirty="0"/>
              <a:t>, </a:t>
            </a:r>
            <a:r>
              <a:rPr lang="en-US" altLang="zh-CN" dirty="0" err="1"/>
              <a:t>zsh</a:t>
            </a:r>
            <a:r>
              <a:rPr lang="en-US" altLang="zh-CN" dirty="0"/>
              <a:t> …</a:t>
            </a:r>
            <a:endParaRPr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A06D19FF-A569-47CC-B921-0106981DAC61}"/>
              </a:ext>
            </a:extLst>
          </p:cNvPr>
          <p:cNvSpPr txBox="1"/>
          <p:nvPr/>
        </p:nvSpPr>
        <p:spPr>
          <a:xfrm>
            <a:off x="669924" y="2403714"/>
            <a:ext cx="19543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GUI in Linux: </a:t>
            </a:r>
          </a:p>
          <a:p>
            <a:r>
              <a:rPr lang="en-US" altLang="zh-CN" dirty="0"/>
              <a:t>GNOME, KDE …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6319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864CEE-8DC5-4CC5-98B1-D562100A7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le System Directori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C95F22A-A006-4CDA-8073-867ADAB6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883D420-8A63-4426-A705-0ED48A1F293F}"/>
              </a:ext>
            </a:extLst>
          </p:cNvPr>
          <p:cNvSpPr/>
          <p:nvPr/>
        </p:nvSpPr>
        <p:spPr>
          <a:xfrm>
            <a:off x="769434" y="6055797"/>
            <a:ext cx="10381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https://www.howtogeek.com/117435/htg-explains-the-linux-directory-structure-explained/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441B0F8-8F02-480B-8D9B-D115AAD905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3453" y="1213366"/>
            <a:ext cx="9885094" cy="424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225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F999F6-CF40-4CD5-A6BE-5B378AAA5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t hands dirty now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312FB62-1DC6-49FA-BBC4-01555364D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3E67C1D-62A9-4A16-A8CA-D1A7FABF2F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123" y="1191904"/>
            <a:ext cx="9734164" cy="5355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692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Make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FBF5271-FB10-4086-B31F-13BD8B5D5F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0602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5133EC-F057-423A-82BE-68C98DF44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Make</a:t>
            </a:r>
            <a:r>
              <a:rPr lang="en-US" altLang="zh-CN" dirty="0"/>
              <a:t> Basi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4B1EEAD-81A7-428D-BEE5-22DA385FB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F053B5F-02D0-44E4-9F6A-6C4C3FF14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4524" y="1136632"/>
            <a:ext cx="9228719" cy="1935054"/>
          </a:xfrm>
          <a:prstGeom prst="rect">
            <a:avLst/>
          </a:prstGeom>
        </p:spPr>
      </p:pic>
      <p:sp>
        <p:nvSpPr>
          <p:cNvPr id="6" name="矩形: 圆角 5">
            <a:extLst>
              <a:ext uri="{FF2B5EF4-FFF2-40B4-BE49-F238E27FC236}">
                <a16:creationId xmlns:a16="http://schemas.microsoft.com/office/drawing/2014/main" id="{4A53B6AE-5378-4004-816E-ECFDA70591EE}"/>
              </a:ext>
            </a:extLst>
          </p:cNvPr>
          <p:cNvSpPr/>
          <p:nvPr/>
        </p:nvSpPr>
        <p:spPr>
          <a:xfrm>
            <a:off x="1058561" y="3124856"/>
            <a:ext cx="9819503" cy="2022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his is ok if you don’t need any dependency.</a:t>
            </a:r>
          </a:p>
          <a:p>
            <a:pPr algn="ctr"/>
            <a:r>
              <a:rPr lang="en-US" altLang="zh-CN" dirty="0"/>
              <a:t>What if we want use a library?</a:t>
            </a:r>
          </a:p>
          <a:p>
            <a:pPr algn="ctr"/>
            <a:r>
              <a:rPr lang="en-US" altLang="zh-CN" dirty="0"/>
              <a:t>How to manage the libraries in a common way?</a:t>
            </a:r>
          </a:p>
          <a:p>
            <a:pPr algn="ctr"/>
            <a:r>
              <a:rPr lang="en-US" altLang="zh-CN" sz="4400" b="1" i="1" dirty="0" err="1">
                <a:solidFill>
                  <a:schemeClr val="accent3">
                    <a:lumMod val="60000"/>
                    <a:lumOff val="40000"/>
                  </a:schemeClr>
                </a:solidFill>
              </a:rPr>
              <a:t>CMake</a:t>
            </a:r>
            <a:r>
              <a:rPr lang="en-US" altLang="zh-CN" sz="4400" b="1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is the answer!</a:t>
            </a:r>
            <a:endParaRPr lang="zh-CN" altLang="en-US" sz="4400" b="1" i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1CC5CC1A-795C-45FB-A555-A43F1826F951}"/>
              </a:ext>
            </a:extLst>
          </p:cNvPr>
          <p:cNvSpPr/>
          <p:nvPr/>
        </p:nvSpPr>
        <p:spPr>
          <a:xfrm>
            <a:off x="214184" y="5721368"/>
            <a:ext cx="8826844" cy="807308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2">
                    <a:lumMod val="10000"/>
                  </a:schemeClr>
                </a:solidFill>
              </a:rPr>
              <a:t>To understand compiling and linking:</a:t>
            </a:r>
          </a:p>
          <a:p>
            <a:pPr algn="ctr"/>
            <a:r>
              <a:rPr lang="en-US" altLang="zh-CN" sz="1400" dirty="0">
                <a:hlinkClick r:id="rId3"/>
              </a:rPr>
              <a:t>https://www.youtube.com/watch?v=SfGuIVzE_Os&amp;list=PLlrATfBNZ98dudnM48yfGUldqGD0S4FFb&amp;index=5</a:t>
            </a:r>
            <a:endParaRPr lang="zh-CN" altLang="en-US" sz="14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5CF615D-B4C2-40B0-B34A-AAF70E3EDC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8347" y="5200416"/>
            <a:ext cx="2617549" cy="132826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66B19682-B6AB-4D84-ADEE-8591A3AB75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852" y="1408606"/>
            <a:ext cx="11860705" cy="1517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15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be90c13-0265-47d4-9235-2547409d16a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ce3a2b1-4bc3-4e65-9a52-0ccb868cfb22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71</TotalTime>
  <Words>896</Words>
  <Application>Microsoft Macintosh PowerPoint</Application>
  <PresentationFormat>宽屏</PresentationFormat>
  <Paragraphs>218</Paragraphs>
  <Slides>31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47" baseType="lpstr">
      <vt:lpstr>宋体</vt:lpstr>
      <vt:lpstr>微软雅黑</vt:lpstr>
      <vt:lpstr>Segoe UI Light</vt:lpstr>
      <vt:lpstr>Arial</vt:lpstr>
      <vt:lpstr>Calibri</vt:lpstr>
      <vt:lpstr>Cambria Math</vt:lpstr>
      <vt:lpstr>Cascadia Code</vt:lpstr>
      <vt:lpstr>Century</vt:lpstr>
      <vt:lpstr>Consolas</vt:lpstr>
      <vt:lpstr>Constantia</vt:lpstr>
      <vt:lpstr>Courier New</vt:lpstr>
      <vt:lpstr>Impact</vt:lpstr>
      <vt:lpstr>Wingdings</vt:lpstr>
      <vt:lpstr>主题5</vt:lpstr>
      <vt:lpstr>OfficePLUS</vt:lpstr>
      <vt:lpstr>think-cell Slide</vt:lpstr>
      <vt:lpstr>SuperPower  Vision Group Team Training</vt:lpstr>
      <vt:lpstr>Today, you’ll learn:</vt:lpstr>
      <vt:lpstr>Linux Shell</vt:lpstr>
      <vt:lpstr>What’s an OS?</vt:lpstr>
      <vt:lpstr>Modern OS = Kernel + Interface(CLI + GUI)</vt:lpstr>
      <vt:lpstr>File System Directories</vt:lpstr>
      <vt:lpstr>Get hands dirty now</vt:lpstr>
      <vt:lpstr>CMake</vt:lpstr>
      <vt:lpstr>CMake Basic</vt:lpstr>
      <vt:lpstr>Use CMake</vt:lpstr>
      <vt:lpstr>More features</vt:lpstr>
      <vt:lpstr>We also use CMake to build LIBRARIES</vt:lpstr>
      <vt:lpstr>STL</vt:lpstr>
      <vt:lpstr>See what’s there and always ref.</vt:lpstr>
      <vt:lpstr>Big Idea When Programming</vt:lpstr>
      <vt:lpstr>STL: Container &amp; Algorithm</vt:lpstr>
      <vt:lpstr>Try to reserve</vt:lpstr>
      <vt:lpstr>What is push_back doing?</vt:lpstr>
      <vt:lpstr>Conclusion</vt:lpstr>
      <vt:lpstr>Algorithms —— An iterator view</vt:lpstr>
      <vt:lpstr>Iterate a container</vt:lpstr>
      <vt:lpstr>Finally</vt:lpstr>
      <vt:lpstr>Quiz</vt:lpstr>
      <vt:lpstr>Git &amp; GitHub</vt:lpstr>
      <vt:lpstr>Git</vt:lpstr>
      <vt:lpstr>GitHub</vt:lpstr>
      <vt:lpstr>What you need to do</vt:lpstr>
      <vt:lpstr>Attention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crosoft Office User</cp:lastModifiedBy>
  <cp:revision>148</cp:revision>
  <cp:lastPrinted>2018-06-07T16:00:00Z</cp:lastPrinted>
  <dcterms:created xsi:type="dcterms:W3CDTF">2018-06-07T16:00:00Z</dcterms:created>
  <dcterms:modified xsi:type="dcterms:W3CDTF">2019-09-29T12:3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8-11-16T07:35:27.172080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